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2" r:id="rId4"/>
    <p:sldMasterId id="2147483787" r:id="rId5"/>
    <p:sldMasterId id="2147483866" r:id="rId6"/>
    <p:sldMasterId id="2147483816" r:id="rId7"/>
  </p:sldMasterIdLst>
  <p:notesMasterIdLst>
    <p:notesMasterId r:id="rId24"/>
  </p:notesMasterIdLst>
  <p:handoutMasterIdLst>
    <p:handoutMasterId r:id="rId25"/>
  </p:handoutMasterIdLst>
  <p:sldIdLst>
    <p:sldId id="256" r:id="rId8"/>
    <p:sldId id="289" r:id="rId9"/>
    <p:sldId id="310" r:id="rId10"/>
    <p:sldId id="314" r:id="rId11"/>
    <p:sldId id="305" r:id="rId12"/>
    <p:sldId id="316" r:id="rId13"/>
    <p:sldId id="287" r:id="rId14"/>
    <p:sldId id="320" r:id="rId15"/>
    <p:sldId id="300" r:id="rId16"/>
    <p:sldId id="306" r:id="rId17"/>
    <p:sldId id="299" r:id="rId18"/>
    <p:sldId id="303" r:id="rId19"/>
    <p:sldId id="298" r:id="rId20"/>
    <p:sldId id="319" r:id="rId21"/>
    <p:sldId id="259" r:id="rId22"/>
    <p:sldId id="315" r:id="rId23"/>
  </p:sldIdLst>
  <p:sldSz cx="12192000" cy="6858000"/>
  <p:notesSz cx="9925050" cy="6792913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FF29"/>
    <a:srgbClr val="0065BD"/>
    <a:srgbClr val="F4B084"/>
    <a:srgbClr val="FF7C80"/>
    <a:srgbClr val="9779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95" autoAdjust="0"/>
    <p:restoredTop sz="89416" autoAdjust="0"/>
  </p:normalViewPr>
  <p:slideViewPr>
    <p:cSldViewPr snapToGrid="0">
      <p:cViewPr varScale="1">
        <p:scale>
          <a:sx n="105" d="100"/>
          <a:sy n="105" d="100"/>
        </p:scale>
        <p:origin x="774" y="114"/>
      </p:cViewPr>
      <p:guideLst>
        <p:guide orient="horz" pos="213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lemente Javier Juan Oliver" userId="d9d99d63-4031-481b-819a-1877e97430df" providerId="ADAL" clId="{8D331915-2BF7-4A33-BFCA-41E29DDA3DCA}"/>
    <pc:docChg chg="undo custSel addSld delSld">
      <pc:chgData name="Clemente Javier Juan Oliver" userId="d9d99d63-4031-481b-819a-1877e97430df" providerId="ADAL" clId="{8D331915-2BF7-4A33-BFCA-41E29DDA3DCA}" dt="2025-11-14T15:41:38.084" v="7" actId="47"/>
      <pc:docMkLst>
        <pc:docMk/>
      </pc:docMkLst>
      <pc:sldChg chg="add del">
        <pc:chgData name="Clemente Javier Juan Oliver" userId="d9d99d63-4031-481b-819a-1877e97430df" providerId="ADAL" clId="{8D331915-2BF7-4A33-BFCA-41E29DDA3DCA}" dt="2025-11-14T15:41:30.324" v="5" actId="47"/>
        <pc:sldMkLst>
          <pc:docMk/>
          <pc:sldMk cId="2739568903" sldId="256"/>
        </pc:sldMkLst>
      </pc:sldChg>
      <pc:sldChg chg="add del">
        <pc:chgData name="Clemente Javier Juan Oliver" userId="d9d99d63-4031-481b-819a-1877e97430df" providerId="ADAL" clId="{8D331915-2BF7-4A33-BFCA-41E29DDA3DCA}" dt="2025-11-14T15:41:36.102" v="6" actId="47"/>
        <pc:sldMkLst>
          <pc:docMk/>
          <pc:sldMk cId="1201462088" sldId="313"/>
        </pc:sldMkLst>
      </pc:sldChg>
      <pc:sldChg chg="add del">
        <pc:chgData name="Clemente Javier Juan Oliver" userId="d9d99d63-4031-481b-819a-1877e97430df" providerId="ADAL" clId="{8D331915-2BF7-4A33-BFCA-41E29DDA3DCA}" dt="2025-11-14T15:41:38.084" v="7" actId="47"/>
        <pc:sldMkLst>
          <pc:docMk/>
          <pc:sldMk cId="1416824419" sldId="317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85BC14-509B-4468-86DA-85872232CD9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DE"/>
        </a:p>
      </dgm:t>
    </dgm:pt>
    <dgm:pt modelId="{6E0E292F-50CC-4F4E-9BA4-5C2F85E1A96E}">
      <dgm:prSet phldrT="[Text]" custT="1"/>
      <dgm:spPr/>
      <dgm:t>
        <a:bodyPr/>
        <a:lstStyle/>
        <a:p>
          <a:r>
            <a:rPr lang="en-US" sz="1600" dirty="0"/>
            <a:t>Maintenance</a:t>
          </a:r>
          <a:endParaRPr lang="en-DE" sz="1600" dirty="0"/>
        </a:p>
      </dgm:t>
    </dgm:pt>
    <dgm:pt modelId="{F51EEDD5-1119-4427-AB82-74E77A8E7244}" type="parTrans" cxnId="{C47A6AF4-4347-44A4-9819-0C4FD671CAC6}">
      <dgm:prSet/>
      <dgm:spPr/>
      <dgm:t>
        <a:bodyPr/>
        <a:lstStyle/>
        <a:p>
          <a:endParaRPr lang="en-DE" sz="1600"/>
        </a:p>
      </dgm:t>
    </dgm:pt>
    <dgm:pt modelId="{6D159D7B-CD92-40A3-9C9B-DBF3696BD857}" type="sibTrans" cxnId="{C47A6AF4-4347-44A4-9819-0C4FD671CAC6}">
      <dgm:prSet/>
      <dgm:spPr/>
      <dgm:t>
        <a:bodyPr/>
        <a:lstStyle/>
        <a:p>
          <a:endParaRPr lang="en-DE" sz="1600"/>
        </a:p>
      </dgm:t>
    </dgm:pt>
    <dgm:pt modelId="{530CAE0A-CDED-4585-8AB0-BC68AC50A8D0}">
      <dgm:prSet phldrT="[Text]" custT="1"/>
      <dgm:spPr/>
      <dgm:t>
        <a:bodyPr/>
        <a:lstStyle/>
        <a:p>
          <a:r>
            <a:rPr lang="en-US" sz="1600" dirty="0"/>
            <a:t>Install</a:t>
          </a:r>
          <a:endParaRPr lang="en-DE" sz="1600" dirty="0"/>
        </a:p>
      </dgm:t>
    </dgm:pt>
    <dgm:pt modelId="{3ECC93A6-3699-4443-8233-4D8917635B75}" type="parTrans" cxnId="{14C6E151-7834-4165-9561-445B89ECCFD7}">
      <dgm:prSet/>
      <dgm:spPr/>
      <dgm:t>
        <a:bodyPr/>
        <a:lstStyle/>
        <a:p>
          <a:endParaRPr lang="en-DE" sz="1600"/>
        </a:p>
      </dgm:t>
    </dgm:pt>
    <dgm:pt modelId="{303E0D97-8745-4B93-A00E-BCFF19A484CE}" type="sibTrans" cxnId="{14C6E151-7834-4165-9561-445B89ECCFD7}">
      <dgm:prSet/>
      <dgm:spPr/>
      <dgm:t>
        <a:bodyPr/>
        <a:lstStyle/>
        <a:p>
          <a:endParaRPr lang="en-DE" sz="1600"/>
        </a:p>
      </dgm:t>
    </dgm:pt>
    <dgm:pt modelId="{936471DE-BF2E-4E66-89B8-388222B7984F}">
      <dgm:prSet phldrT="[Text]" custT="1"/>
      <dgm:spPr/>
      <dgm:t>
        <a:bodyPr/>
        <a:lstStyle/>
        <a:p>
          <a:r>
            <a:rPr lang="en-US" sz="1600" dirty="0"/>
            <a:t>Repair</a:t>
          </a:r>
          <a:endParaRPr lang="en-DE" sz="1600" dirty="0"/>
        </a:p>
      </dgm:t>
    </dgm:pt>
    <dgm:pt modelId="{CEB4E9C5-C699-45A1-BE02-D95F99BD3813}" type="parTrans" cxnId="{47D328E5-DB8E-4CE2-9640-2B3617CFD2C2}">
      <dgm:prSet/>
      <dgm:spPr/>
      <dgm:t>
        <a:bodyPr/>
        <a:lstStyle/>
        <a:p>
          <a:endParaRPr lang="en-DE" sz="1600"/>
        </a:p>
      </dgm:t>
    </dgm:pt>
    <dgm:pt modelId="{25D7BA2B-FCB6-4293-80C7-C0A77025ED62}" type="sibTrans" cxnId="{47D328E5-DB8E-4CE2-9640-2B3617CFD2C2}">
      <dgm:prSet/>
      <dgm:spPr/>
      <dgm:t>
        <a:bodyPr/>
        <a:lstStyle/>
        <a:p>
          <a:endParaRPr lang="en-DE" sz="1600"/>
        </a:p>
      </dgm:t>
    </dgm:pt>
    <dgm:pt modelId="{B6080BFE-6C05-41C2-814D-A1D1D7C27168}">
      <dgm:prSet phldrT="[Text]" custT="1"/>
      <dgm:spPr/>
      <dgm:t>
        <a:bodyPr/>
        <a:lstStyle/>
        <a:p>
          <a:r>
            <a:rPr lang="en-US" sz="1600" dirty="0"/>
            <a:t>Monitoring and Control</a:t>
          </a:r>
          <a:endParaRPr lang="en-DE" sz="1600" dirty="0"/>
        </a:p>
      </dgm:t>
    </dgm:pt>
    <dgm:pt modelId="{F198F266-6259-4519-AFD6-83302C9D2CD4}" type="parTrans" cxnId="{2D741745-E9D5-4FF1-8577-C8BCEF220E2E}">
      <dgm:prSet/>
      <dgm:spPr/>
      <dgm:t>
        <a:bodyPr/>
        <a:lstStyle/>
        <a:p>
          <a:endParaRPr lang="en-DE" sz="1600"/>
        </a:p>
      </dgm:t>
    </dgm:pt>
    <dgm:pt modelId="{F075F43D-854D-454A-A2B8-55BF53FF776B}" type="sibTrans" cxnId="{2D741745-E9D5-4FF1-8577-C8BCEF220E2E}">
      <dgm:prSet/>
      <dgm:spPr/>
      <dgm:t>
        <a:bodyPr/>
        <a:lstStyle/>
        <a:p>
          <a:endParaRPr lang="en-DE" sz="1600"/>
        </a:p>
      </dgm:t>
    </dgm:pt>
    <dgm:pt modelId="{5266330C-B73C-4BBC-8EEE-F11424AB7378}">
      <dgm:prSet phldrT="[Text]" custT="1"/>
      <dgm:spPr/>
      <dgm:t>
        <a:bodyPr/>
        <a:lstStyle/>
        <a:p>
          <a:r>
            <a:rPr lang="en-US" sz="1600" dirty="0"/>
            <a:t>Monitor positions</a:t>
          </a:r>
          <a:endParaRPr lang="en-DE" sz="1600" dirty="0"/>
        </a:p>
      </dgm:t>
    </dgm:pt>
    <dgm:pt modelId="{34B23E2F-5A5F-43E1-99BD-9D552D8FFF22}" type="parTrans" cxnId="{1E91A0AF-253E-40BD-B7C5-04E1FC05D26C}">
      <dgm:prSet/>
      <dgm:spPr/>
      <dgm:t>
        <a:bodyPr/>
        <a:lstStyle/>
        <a:p>
          <a:endParaRPr lang="en-DE" sz="1600"/>
        </a:p>
      </dgm:t>
    </dgm:pt>
    <dgm:pt modelId="{8CB1D91B-23E0-4707-8195-52A58C37AFBA}" type="sibTrans" cxnId="{1E91A0AF-253E-40BD-B7C5-04E1FC05D26C}">
      <dgm:prSet/>
      <dgm:spPr/>
      <dgm:t>
        <a:bodyPr/>
        <a:lstStyle/>
        <a:p>
          <a:endParaRPr lang="en-DE" sz="1600"/>
        </a:p>
      </dgm:t>
    </dgm:pt>
    <dgm:pt modelId="{807F1A61-516F-42A8-ACF6-9D16F480E373}">
      <dgm:prSet phldrT="[Text]" custT="1"/>
      <dgm:spPr/>
      <dgm:t>
        <a:bodyPr/>
        <a:lstStyle/>
        <a:p>
          <a:r>
            <a:rPr lang="en-US" sz="1600" dirty="0"/>
            <a:t>Managing communications</a:t>
          </a:r>
          <a:endParaRPr lang="en-DE" sz="1600" dirty="0"/>
        </a:p>
      </dgm:t>
    </dgm:pt>
    <dgm:pt modelId="{0A43D30B-7B96-4361-8859-B87C37E1705B}" type="parTrans" cxnId="{74377349-B587-49F9-BCC2-078CB2C7B200}">
      <dgm:prSet/>
      <dgm:spPr/>
      <dgm:t>
        <a:bodyPr/>
        <a:lstStyle/>
        <a:p>
          <a:endParaRPr lang="en-DE" sz="1600"/>
        </a:p>
      </dgm:t>
    </dgm:pt>
    <dgm:pt modelId="{E2E0A8D4-5396-461C-8648-1DE9ED3E9653}" type="sibTrans" cxnId="{74377349-B587-49F9-BCC2-078CB2C7B200}">
      <dgm:prSet/>
      <dgm:spPr/>
      <dgm:t>
        <a:bodyPr/>
        <a:lstStyle/>
        <a:p>
          <a:endParaRPr lang="en-DE" sz="1600"/>
        </a:p>
      </dgm:t>
    </dgm:pt>
    <dgm:pt modelId="{6045E57B-5122-4DAD-BEAD-D9B7614946E2}">
      <dgm:prSet phldrT="[Text]" custT="1"/>
      <dgm:spPr/>
      <dgm:t>
        <a:bodyPr/>
        <a:lstStyle/>
        <a:p>
          <a:r>
            <a:rPr lang="en-US" sz="1600" dirty="0"/>
            <a:t>Troubleshooting</a:t>
          </a:r>
          <a:endParaRPr lang="en-DE" sz="1600" dirty="0"/>
        </a:p>
      </dgm:t>
    </dgm:pt>
    <dgm:pt modelId="{98CE33B2-F6D7-4D84-BFFD-66D0EF3B64A3}" type="parTrans" cxnId="{80217882-92BF-4FF6-92DE-D3CB0B457025}">
      <dgm:prSet/>
      <dgm:spPr/>
      <dgm:t>
        <a:bodyPr/>
        <a:lstStyle/>
        <a:p>
          <a:endParaRPr lang="en-DE" sz="1600"/>
        </a:p>
      </dgm:t>
    </dgm:pt>
    <dgm:pt modelId="{3787C4F9-77CC-4E18-B5D9-608EEBF5EFCA}" type="sibTrans" cxnId="{80217882-92BF-4FF6-92DE-D3CB0B457025}">
      <dgm:prSet/>
      <dgm:spPr/>
      <dgm:t>
        <a:bodyPr/>
        <a:lstStyle/>
        <a:p>
          <a:endParaRPr lang="en-DE" sz="1600"/>
        </a:p>
      </dgm:t>
    </dgm:pt>
    <dgm:pt modelId="{78618037-26A6-4F03-8B4B-EF3936261CEC}">
      <dgm:prSet phldrT="[Text]" custT="1"/>
      <dgm:spPr/>
      <dgm:t>
        <a:bodyPr/>
        <a:lstStyle/>
        <a:p>
          <a:r>
            <a:rPr lang="en-US" sz="1600" dirty="0"/>
            <a:t>Diagnostics</a:t>
          </a:r>
          <a:endParaRPr lang="en-DE" sz="1600" dirty="0"/>
        </a:p>
      </dgm:t>
    </dgm:pt>
    <dgm:pt modelId="{7C84744D-A39A-4DC2-BDCC-7A07092256E9}" type="parTrans" cxnId="{80C0F714-33D8-408A-BB56-DFE00CBB107D}">
      <dgm:prSet/>
      <dgm:spPr/>
      <dgm:t>
        <a:bodyPr/>
        <a:lstStyle/>
        <a:p>
          <a:endParaRPr lang="en-DE" sz="1600"/>
        </a:p>
      </dgm:t>
    </dgm:pt>
    <dgm:pt modelId="{7C4C0FF6-BE44-4BF7-9E5A-DA22B36D8AD8}" type="sibTrans" cxnId="{80C0F714-33D8-408A-BB56-DFE00CBB107D}">
      <dgm:prSet/>
      <dgm:spPr/>
      <dgm:t>
        <a:bodyPr/>
        <a:lstStyle/>
        <a:p>
          <a:endParaRPr lang="en-DE" sz="1600"/>
        </a:p>
      </dgm:t>
    </dgm:pt>
    <dgm:pt modelId="{42BA0393-A07B-4336-8BE8-F0AE31AA87E7}">
      <dgm:prSet phldrT="[Text]" custT="1"/>
      <dgm:spPr/>
      <dgm:t>
        <a:bodyPr/>
        <a:lstStyle/>
        <a:p>
          <a:r>
            <a:rPr lang="en-US" sz="1600" dirty="0"/>
            <a:t>Resolve problems</a:t>
          </a:r>
          <a:endParaRPr lang="en-DE" sz="1600" dirty="0"/>
        </a:p>
      </dgm:t>
    </dgm:pt>
    <dgm:pt modelId="{7C46FEFD-9262-4F8F-9882-5D9957FA2DA0}" type="parTrans" cxnId="{8BD41E7D-A9B8-4987-ACF8-562C7E4481AD}">
      <dgm:prSet/>
      <dgm:spPr/>
      <dgm:t>
        <a:bodyPr/>
        <a:lstStyle/>
        <a:p>
          <a:endParaRPr lang="en-DE" sz="1600"/>
        </a:p>
      </dgm:t>
    </dgm:pt>
    <dgm:pt modelId="{B4EA30B5-0340-475E-BD31-D967C9264C96}" type="sibTrans" cxnId="{8BD41E7D-A9B8-4987-ACF8-562C7E4481AD}">
      <dgm:prSet/>
      <dgm:spPr/>
      <dgm:t>
        <a:bodyPr/>
        <a:lstStyle/>
        <a:p>
          <a:endParaRPr lang="en-DE" sz="1600"/>
        </a:p>
      </dgm:t>
    </dgm:pt>
    <dgm:pt modelId="{F6664B3B-2E0A-42FF-8ACE-EDA34D25A830}">
      <dgm:prSet phldrT="[Text]" custT="1"/>
      <dgm:spPr/>
      <dgm:t>
        <a:bodyPr/>
        <a:lstStyle/>
        <a:p>
          <a:r>
            <a:rPr lang="en-US" sz="1600" dirty="0"/>
            <a:t>Coordination</a:t>
          </a:r>
          <a:endParaRPr lang="en-DE" sz="1600" dirty="0"/>
        </a:p>
      </dgm:t>
    </dgm:pt>
    <dgm:pt modelId="{A564B68D-A816-4C07-9CC9-B2A821733FE2}" type="parTrans" cxnId="{97C76EE7-257A-4783-A0E1-536EB7F592EE}">
      <dgm:prSet/>
      <dgm:spPr/>
      <dgm:t>
        <a:bodyPr/>
        <a:lstStyle/>
        <a:p>
          <a:endParaRPr lang="en-DE" sz="1600"/>
        </a:p>
      </dgm:t>
    </dgm:pt>
    <dgm:pt modelId="{A497980C-2368-42A8-86F4-F17B00D6FFF7}" type="sibTrans" cxnId="{97C76EE7-257A-4783-A0E1-536EB7F592EE}">
      <dgm:prSet/>
      <dgm:spPr/>
      <dgm:t>
        <a:bodyPr/>
        <a:lstStyle/>
        <a:p>
          <a:endParaRPr lang="en-DE" sz="1600"/>
        </a:p>
      </dgm:t>
    </dgm:pt>
    <dgm:pt modelId="{DD5FD78D-F392-478D-B9E4-7AB0ACDA3A85}">
      <dgm:prSet phldrT="[Text]" custT="1"/>
      <dgm:spPr/>
      <dgm:t>
        <a:bodyPr/>
        <a:lstStyle/>
        <a:p>
          <a:r>
            <a:rPr lang="en-US" sz="1600" dirty="0"/>
            <a:t>Manage conjunctions</a:t>
          </a:r>
          <a:endParaRPr lang="en-DE" sz="1600" dirty="0"/>
        </a:p>
      </dgm:t>
    </dgm:pt>
    <dgm:pt modelId="{8A32145F-FA29-4617-82FA-5E39645779C1}" type="parTrans" cxnId="{163A2B89-E577-4EFB-B35F-2BA4251E9BA8}">
      <dgm:prSet/>
      <dgm:spPr/>
      <dgm:t>
        <a:bodyPr/>
        <a:lstStyle/>
        <a:p>
          <a:endParaRPr lang="en-DE" sz="1600"/>
        </a:p>
      </dgm:t>
    </dgm:pt>
    <dgm:pt modelId="{C5110602-41B5-44F6-81D7-60B3503E798B}" type="sibTrans" cxnId="{163A2B89-E577-4EFB-B35F-2BA4251E9BA8}">
      <dgm:prSet/>
      <dgm:spPr/>
      <dgm:t>
        <a:bodyPr/>
        <a:lstStyle/>
        <a:p>
          <a:endParaRPr lang="en-DE" sz="1600"/>
        </a:p>
      </dgm:t>
    </dgm:pt>
    <dgm:pt modelId="{EB9150A4-FE86-4B5F-8656-6BDF55888C1A}">
      <dgm:prSet phldrT="[Text]" custT="1"/>
      <dgm:spPr/>
      <dgm:t>
        <a:bodyPr/>
        <a:lstStyle/>
        <a:p>
          <a:r>
            <a:rPr lang="en-US" sz="1600" dirty="0"/>
            <a:t>Avoid collisions</a:t>
          </a:r>
          <a:endParaRPr lang="en-DE" sz="1600" dirty="0"/>
        </a:p>
      </dgm:t>
    </dgm:pt>
    <dgm:pt modelId="{EBC1557B-E05F-45DB-A4DF-E7382A5A2119}" type="parTrans" cxnId="{421BA923-E030-45D0-9F42-CD6A83448A87}">
      <dgm:prSet/>
      <dgm:spPr/>
      <dgm:t>
        <a:bodyPr/>
        <a:lstStyle/>
        <a:p>
          <a:endParaRPr lang="en-DE" sz="1600"/>
        </a:p>
      </dgm:t>
    </dgm:pt>
    <dgm:pt modelId="{9C34A29E-4CE3-4D39-A213-8F2B1BCBABC0}" type="sibTrans" cxnId="{421BA923-E030-45D0-9F42-CD6A83448A87}">
      <dgm:prSet/>
      <dgm:spPr/>
      <dgm:t>
        <a:bodyPr/>
        <a:lstStyle/>
        <a:p>
          <a:endParaRPr lang="en-DE" sz="1600"/>
        </a:p>
      </dgm:t>
    </dgm:pt>
    <dgm:pt modelId="{A3CB559C-7F38-4C80-994B-BD86C8FD3F97}">
      <dgm:prSet phldrT="[Text]" custT="1"/>
      <dgm:spPr/>
      <dgm:t>
        <a:bodyPr/>
        <a:lstStyle/>
        <a:p>
          <a:r>
            <a:rPr lang="en-US" sz="1600" dirty="0"/>
            <a:t>Minimize downtime</a:t>
          </a:r>
          <a:endParaRPr lang="en-DE" sz="1600" dirty="0"/>
        </a:p>
      </dgm:t>
    </dgm:pt>
    <dgm:pt modelId="{A9F2E5FE-9EE8-40EB-AD8F-DF12381D9BE1}" type="parTrans" cxnId="{D706CBA6-4630-458A-A361-C576B1799350}">
      <dgm:prSet/>
      <dgm:spPr/>
      <dgm:t>
        <a:bodyPr/>
        <a:lstStyle/>
        <a:p>
          <a:endParaRPr lang="en-DE" sz="1600"/>
        </a:p>
      </dgm:t>
    </dgm:pt>
    <dgm:pt modelId="{D60F745B-2BC6-4744-A23F-9CA2956CB042}" type="sibTrans" cxnId="{D706CBA6-4630-458A-A361-C576B1799350}">
      <dgm:prSet/>
      <dgm:spPr/>
      <dgm:t>
        <a:bodyPr/>
        <a:lstStyle/>
        <a:p>
          <a:endParaRPr lang="en-DE" sz="1600"/>
        </a:p>
      </dgm:t>
    </dgm:pt>
    <dgm:pt modelId="{7B313C64-011B-44C5-BE53-B69CE221FCFF}">
      <dgm:prSet phldrT="[Text]" custT="1"/>
      <dgm:spPr/>
      <dgm:t>
        <a:bodyPr/>
        <a:lstStyle/>
        <a:p>
          <a:r>
            <a:rPr lang="en-US" sz="1600" dirty="0"/>
            <a:t>Maintain Service Quality</a:t>
          </a:r>
          <a:endParaRPr lang="en-DE" sz="1600" dirty="0"/>
        </a:p>
      </dgm:t>
    </dgm:pt>
    <dgm:pt modelId="{EDEA470D-E2C7-4ACC-886E-0EC9CA4BC892}" type="parTrans" cxnId="{59B5A6CB-6F00-459D-A1DF-2B8054AF1FE8}">
      <dgm:prSet/>
      <dgm:spPr/>
      <dgm:t>
        <a:bodyPr/>
        <a:lstStyle/>
        <a:p>
          <a:endParaRPr lang="en-DE" sz="1600"/>
        </a:p>
      </dgm:t>
    </dgm:pt>
    <dgm:pt modelId="{39071243-0835-43BE-BB30-204F1EBB83B4}" type="sibTrans" cxnId="{59B5A6CB-6F00-459D-A1DF-2B8054AF1FE8}">
      <dgm:prSet/>
      <dgm:spPr/>
      <dgm:t>
        <a:bodyPr/>
        <a:lstStyle/>
        <a:p>
          <a:endParaRPr lang="en-DE" sz="1600"/>
        </a:p>
      </dgm:t>
    </dgm:pt>
    <dgm:pt modelId="{B14C58A9-1EDA-46D7-AE24-3E1149A1CF1D}" type="pres">
      <dgm:prSet presAssocID="{F085BC14-509B-4468-86DA-85872232CD91}" presName="linear" presStyleCnt="0">
        <dgm:presLayoutVars>
          <dgm:animLvl val="lvl"/>
          <dgm:resizeHandles val="exact"/>
        </dgm:presLayoutVars>
      </dgm:prSet>
      <dgm:spPr/>
    </dgm:pt>
    <dgm:pt modelId="{590730A7-D4B8-41A4-9281-5BC6B6F9E0BB}" type="pres">
      <dgm:prSet presAssocID="{6E0E292F-50CC-4F4E-9BA4-5C2F85E1A96E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5684F10B-C58B-4D4C-85AF-B5C18AD31DDB}" type="pres">
      <dgm:prSet presAssocID="{6E0E292F-50CC-4F4E-9BA4-5C2F85E1A96E}" presName="childText" presStyleLbl="revTx" presStyleIdx="0" presStyleCnt="4">
        <dgm:presLayoutVars>
          <dgm:bulletEnabled val="1"/>
        </dgm:presLayoutVars>
      </dgm:prSet>
      <dgm:spPr/>
    </dgm:pt>
    <dgm:pt modelId="{92FD9731-9763-4F12-9C38-EA902A610FFA}" type="pres">
      <dgm:prSet presAssocID="{B6080BFE-6C05-41C2-814D-A1D1D7C27168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68A0D9CA-364E-4AAE-B739-FA912F393AE1}" type="pres">
      <dgm:prSet presAssocID="{B6080BFE-6C05-41C2-814D-A1D1D7C27168}" presName="childText" presStyleLbl="revTx" presStyleIdx="1" presStyleCnt="4">
        <dgm:presLayoutVars>
          <dgm:bulletEnabled val="1"/>
        </dgm:presLayoutVars>
      </dgm:prSet>
      <dgm:spPr/>
    </dgm:pt>
    <dgm:pt modelId="{6E1E0133-1D35-4591-876A-541B244ADF5A}" type="pres">
      <dgm:prSet presAssocID="{6045E57B-5122-4DAD-BEAD-D9B7614946E2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1E576B77-9494-4675-BF88-4282825B5A79}" type="pres">
      <dgm:prSet presAssocID="{6045E57B-5122-4DAD-BEAD-D9B7614946E2}" presName="childText" presStyleLbl="revTx" presStyleIdx="2" presStyleCnt="4">
        <dgm:presLayoutVars>
          <dgm:bulletEnabled val="1"/>
        </dgm:presLayoutVars>
      </dgm:prSet>
      <dgm:spPr/>
    </dgm:pt>
    <dgm:pt modelId="{23AAC171-4955-45CB-9890-9796EDE3866E}" type="pres">
      <dgm:prSet presAssocID="{F6664B3B-2E0A-42FF-8ACE-EDA34D25A830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EF417726-A39E-4F00-BA17-82DD19C7FC6B}" type="pres">
      <dgm:prSet presAssocID="{F6664B3B-2E0A-42FF-8ACE-EDA34D25A830}" presName="childText" presStyleLbl="revTx" presStyleIdx="3" presStyleCnt="4">
        <dgm:presLayoutVars>
          <dgm:bulletEnabled val="1"/>
        </dgm:presLayoutVars>
      </dgm:prSet>
      <dgm:spPr/>
    </dgm:pt>
  </dgm:ptLst>
  <dgm:cxnLst>
    <dgm:cxn modelId="{80C0F714-33D8-408A-BB56-DFE00CBB107D}" srcId="{6045E57B-5122-4DAD-BEAD-D9B7614946E2}" destId="{78618037-26A6-4F03-8B4B-EF3936261CEC}" srcOrd="0" destOrd="0" parTransId="{7C84744D-A39A-4DC2-BDCC-7A07092256E9}" sibTransId="{7C4C0FF6-BE44-4BF7-9E5A-DA22B36D8AD8}"/>
    <dgm:cxn modelId="{014C1C16-173D-48B9-B431-62E30224994F}" type="presOf" srcId="{6E0E292F-50CC-4F4E-9BA4-5C2F85E1A96E}" destId="{590730A7-D4B8-41A4-9281-5BC6B6F9E0BB}" srcOrd="0" destOrd="0" presId="urn:microsoft.com/office/officeart/2005/8/layout/vList2"/>
    <dgm:cxn modelId="{2E8B6221-D65E-4D15-AF80-04890659DA25}" type="presOf" srcId="{530CAE0A-CDED-4585-8AB0-BC68AC50A8D0}" destId="{5684F10B-C58B-4D4C-85AF-B5C18AD31DDB}" srcOrd="0" destOrd="0" presId="urn:microsoft.com/office/officeart/2005/8/layout/vList2"/>
    <dgm:cxn modelId="{421BA923-E030-45D0-9F42-CD6A83448A87}" srcId="{F6664B3B-2E0A-42FF-8ACE-EDA34D25A830}" destId="{EB9150A4-FE86-4B5F-8656-6BDF55888C1A}" srcOrd="1" destOrd="0" parTransId="{EBC1557B-E05F-45DB-A4DF-E7382A5A2119}" sibTransId="{9C34A29E-4CE3-4D39-A213-8F2B1BCBABC0}"/>
    <dgm:cxn modelId="{6D29753C-57D2-4448-AAAA-B7D260D82FF4}" type="presOf" srcId="{F085BC14-509B-4468-86DA-85872232CD91}" destId="{B14C58A9-1EDA-46D7-AE24-3E1149A1CF1D}" srcOrd="0" destOrd="0" presId="urn:microsoft.com/office/officeart/2005/8/layout/vList2"/>
    <dgm:cxn modelId="{D45F1C60-3E5A-4065-B552-43A8151D8B3C}" type="presOf" srcId="{B6080BFE-6C05-41C2-814D-A1D1D7C27168}" destId="{92FD9731-9763-4F12-9C38-EA902A610FFA}" srcOrd="0" destOrd="0" presId="urn:microsoft.com/office/officeart/2005/8/layout/vList2"/>
    <dgm:cxn modelId="{2D741745-E9D5-4FF1-8577-C8BCEF220E2E}" srcId="{F085BC14-509B-4468-86DA-85872232CD91}" destId="{B6080BFE-6C05-41C2-814D-A1D1D7C27168}" srcOrd="1" destOrd="0" parTransId="{F198F266-6259-4519-AFD6-83302C9D2CD4}" sibTransId="{F075F43D-854D-454A-A2B8-55BF53FF776B}"/>
    <dgm:cxn modelId="{74377349-B587-49F9-BCC2-078CB2C7B200}" srcId="{B6080BFE-6C05-41C2-814D-A1D1D7C27168}" destId="{807F1A61-516F-42A8-ACF6-9D16F480E373}" srcOrd="1" destOrd="0" parTransId="{0A43D30B-7B96-4361-8859-B87C37E1705B}" sibTransId="{E2E0A8D4-5396-461C-8648-1DE9ED3E9653}"/>
    <dgm:cxn modelId="{14C6E151-7834-4165-9561-445B89ECCFD7}" srcId="{6E0E292F-50CC-4F4E-9BA4-5C2F85E1A96E}" destId="{530CAE0A-CDED-4585-8AB0-BC68AC50A8D0}" srcOrd="0" destOrd="0" parTransId="{3ECC93A6-3699-4443-8233-4D8917635B75}" sibTransId="{303E0D97-8745-4B93-A00E-BCFF19A484CE}"/>
    <dgm:cxn modelId="{E08E1C75-F3BA-403E-903C-E9F3A3E4304F}" type="presOf" srcId="{EB9150A4-FE86-4B5F-8656-6BDF55888C1A}" destId="{EF417726-A39E-4F00-BA17-82DD19C7FC6B}" srcOrd="0" destOrd="1" presId="urn:microsoft.com/office/officeart/2005/8/layout/vList2"/>
    <dgm:cxn modelId="{8DB68478-F70F-47F1-9929-696E95C43403}" type="presOf" srcId="{7B313C64-011B-44C5-BE53-B69CE221FCFF}" destId="{5684F10B-C58B-4D4C-85AF-B5C18AD31DDB}" srcOrd="0" destOrd="2" presId="urn:microsoft.com/office/officeart/2005/8/layout/vList2"/>
    <dgm:cxn modelId="{8BD41E7D-A9B8-4987-ACF8-562C7E4481AD}" srcId="{6045E57B-5122-4DAD-BEAD-D9B7614946E2}" destId="{42BA0393-A07B-4336-8BE8-F0AE31AA87E7}" srcOrd="1" destOrd="0" parTransId="{7C46FEFD-9262-4F8F-9882-5D9957FA2DA0}" sibTransId="{B4EA30B5-0340-475E-BD31-D967C9264C96}"/>
    <dgm:cxn modelId="{80217882-92BF-4FF6-92DE-D3CB0B457025}" srcId="{F085BC14-509B-4468-86DA-85872232CD91}" destId="{6045E57B-5122-4DAD-BEAD-D9B7614946E2}" srcOrd="2" destOrd="0" parTransId="{98CE33B2-F6D7-4D84-BFFD-66D0EF3B64A3}" sibTransId="{3787C4F9-77CC-4E18-B5D9-608EEBF5EFCA}"/>
    <dgm:cxn modelId="{B9D87886-A180-4B49-ADF4-0FFE6C528707}" type="presOf" srcId="{5266330C-B73C-4BBC-8EEE-F11424AB7378}" destId="{68A0D9CA-364E-4AAE-B739-FA912F393AE1}" srcOrd="0" destOrd="0" presId="urn:microsoft.com/office/officeart/2005/8/layout/vList2"/>
    <dgm:cxn modelId="{163A2B89-E577-4EFB-B35F-2BA4251E9BA8}" srcId="{F6664B3B-2E0A-42FF-8ACE-EDA34D25A830}" destId="{DD5FD78D-F392-478D-B9E4-7AB0ACDA3A85}" srcOrd="0" destOrd="0" parTransId="{8A32145F-FA29-4617-82FA-5E39645779C1}" sibTransId="{C5110602-41B5-44F6-81D7-60B3503E798B}"/>
    <dgm:cxn modelId="{D81D1193-331D-4ABB-9A32-A82C794FE8D9}" type="presOf" srcId="{6045E57B-5122-4DAD-BEAD-D9B7614946E2}" destId="{6E1E0133-1D35-4591-876A-541B244ADF5A}" srcOrd="0" destOrd="0" presId="urn:microsoft.com/office/officeart/2005/8/layout/vList2"/>
    <dgm:cxn modelId="{35536895-3393-4A88-B407-A1D75E94BEA0}" type="presOf" srcId="{A3CB559C-7F38-4C80-994B-BD86C8FD3F97}" destId="{1E576B77-9494-4675-BF88-4282825B5A79}" srcOrd="0" destOrd="2" presId="urn:microsoft.com/office/officeart/2005/8/layout/vList2"/>
    <dgm:cxn modelId="{E768299E-F8FE-45F8-981D-5F4C2AF23C69}" type="presOf" srcId="{F6664B3B-2E0A-42FF-8ACE-EDA34D25A830}" destId="{23AAC171-4955-45CB-9890-9796EDE3866E}" srcOrd="0" destOrd="0" presId="urn:microsoft.com/office/officeart/2005/8/layout/vList2"/>
    <dgm:cxn modelId="{D706CBA6-4630-458A-A361-C576B1799350}" srcId="{6045E57B-5122-4DAD-BEAD-D9B7614946E2}" destId="{A3CB559C-7F38-4C80-994B-BD86C8FD3F97}" srcOrd="2" destOrd="0" parTransId="{A9F2E5FE-9EE8-40EB-AD8F-DF12381D9BE1}" sibTransId="{D60F745B-2BC6-4744-A23F-9CA2956CB042}"/>
    <dgm:cxn modelId="{1E91A0AF-253E-40BD-B7C5-04E1FC05D26C}" srcId="{B6080BFE-6C05-41C2-814D-A1D1D7C27168}" destId="{5266330C-B73C-4BBC-8EEE-F11424AB7378}" srcOrd="0" destOrd="0" parTransId="{34B23E2F-5A5F-43E1-99BD-9D552D8FFF22}" sibTransId="{8CB1D91B-23E0-4707-8195-52A58C37AFBA}"/>
    <dgm:cxn modelId="{6C2F81C6-A857-46E5-8432-A9D59734BC73}" type="presOf" srcId="{807F1A61-516F-42A8-ACF6-9D16F480E373}" destId="{68A0D9CA-364E-4AAE-B739-FA912F393AE1}" srcOrd="0" destOrd="1" presId="urn:microsoft.com/office/officeart/2005/8/layout/vList2"/>
    <dgm:cxn modelId="{59B5A6CB-6F00-459D-A1DF-2B8054AF1FE8}" srcId="{6E0E292F-50CC-4F4E-9BA4-5C2F85E1A96E}" destId="{7B313C64-011B-44C5-BE53-B69CE221FCFF}" srcOrd="2" destOrd="0" parTransId="{EDEA470D-E2C7-4ACC-886E-0EC9CA4BC892}" sibTransId="{39071243-0835-43BE-BB30-204F1EBB83B4}"/>
    <dgm:cxn modelId="{CD4429DA-AF98-422C-8A96-D4E9EFA20558}" type="presOf" srcId="{42BA0393-A07B-4336-8BE8-F0AE31AA87E7}" destId="{1E576B77-9494-4675-BF88-4282825B5A79}" srcOrd="0" destOrd="1" presId="urn:microsoft.com/office/officeart/2005/8/layout/vList2"/>
    <dgm:cxn modelId="{451927E4-C33E-4E1F-9BEA-99A6311E77FB}" type="presOf" srcId="{78618037-26A6-4F03-8B4B-EF3936261CEC}" destId="{1E576B77-9494-4675-BF88-4282825B5A79}" srcOrd="0" destOrd="0" presId="urn:microsoft.com/office/officeart/2005/8/layout/vList2"/>
    <dgm:cxn modelId="{47D328E5-DB8E-4CE2-9640-2B3617CFD2C2}" srcId="{6E0E292F-50CC-4F4E-9BA4-5C2F85E1A96E}" destId="{936471DE-BF2E-4E66-89B8-388222B7984F}" srcOrd="1" destOrd="0" parTransId="{CEB4E9C5-C699-45A1-BE02-D95F99BD3813}" sibTransId="{25D7BA2B-FCB6-4293-80C7-C0A77025ED62}"/>
    <dgm:cxn modelId="{227F84E5-21D1-46B6-9EEB-FBBEB7D7E2C0}" type="presOf" srcId="{DD5FD78D-F392-478D-B9E4-7AB0ACDA3A85}" destId="{EF417726-A39E-4F00-BA17-82DD19C7FC6B}" srcOrd="0" destOrd="0" presId="urn:microsoft.com/office/officeart/2005/8/layout/vList2"/>
    <dgm:cxn modelId="{97C76EE7-257A-4783-A0E1-536EB7F592EE}" srcId="{F085BC14-509B-4468-86DA-85872232CD91}" destId="{F6664B3B-2E0A-42FF-8ACE-EDA34D25A830}" srcOrd="3" destOrd="0" parTransId="{A564B68D-A816-4C07-9CC9-B2A821733FE2}" sibTransId="{A497980C-2368-42A8-86F4-F17B00D6FFF7}"/>
    <dgm:cxn modelId="{3CCD57EF-F763-4D0C-9E4B-4508771F3F45}" type="presOf" srcId="{936471DE-BF2E-4E66-89B8-388222B7984F}" destId="{5684F10B-C58B-4D4C-85AF-B5C18AD31DDB}" srcOrd="0" destOrd="1" presId="urn:microsoft.com/office/officeart/2005/8/layout/vList2"/>
    <dgm:cxn modelId="{C47A6AF4-4347-44A4-9819-0C4FD671CAC6}" srcId="{F085BC14-509B-4468-86DA-85872232CD91}" destId="{6E0E292F-50CC-4F4E-9BA4-5C2F85E1A96E}" srcOrd="0" destOrd="0" parTransId="{F51EEDD5-1119-4427-AB82-74E77A8E7244}" sibTransId="{6D159D7B-CD92-40A3-9C9B-DBF3696BD857}"/>
    <dgm:cxn modelId="{00F88C86-8A2A-4DFA-9721-B49CACBFF2A4}" type="presParOf" srcId="{B14C58A9-1EDA-46D7-AE24-3E1149A1CF1D}" destId="{590730A7-D4B8-41A4-9281-5BC6B6F9E0BB}" srcOrd="0" destOrd="0" presId="urn:microsoft.com/office/officeart/2005/8/layout/vList2"/>
    <dgm:cxn modelId="{212DD7D1-D6A0-4CD3-AB3E-D3A665A00E7B}" type="presParOf" srcId="{B14C58A9-1EDA-46D7-AE24-3E1149A1CF1D}" destId="{5684F10B-C58B-4D4C-85AF-B5C18AD31DDB}" srcOrd="1" destOrd="0" presId="urn:microsoft.com/office/officeart/2005/8/layout/vList2"/>
    <dgm:cxn modelId="{CD8DBC3F-D312-4523-9D67-861E376EC814}" type="presParOf" srcId="{B14C58A9-1EDA-46D7-AE24-3E1149A1CF1D}" destId="{92FD9731-9763-4F12-9C38-EA902A610FFA}" srcOrd="2" destOrd="0" presId="urn:microsoft.com/office/officeart/2005/8/layout/vList2"/>
    <dgm:cxn modelId="{758C6693-E82A-4FCA-A42D-FF6107C0096A}" type="presParOf" srcId="{B14C58A9-1EDA-46D7-AE24-3E1149A1CF1D}" destId="{68A0D9CA-364E-4AAE-B739-FA912F393AE1}" srcOrd="3" destOrd="0" presId="urn:microsoft.com/office/officeart/2005/8/layout/vList2"/>
    <dgm:cxn modelId="{F559E421-C9C8-4223-9989-D592D2E526F3}" type="presParOf" srcId="{B14C58A9-1EDA-46D7-AE24-3E1149A1CF1D}" destId="{6E1E0133-1D35-4591-876A-541B244ADF5A}" srcOrd="4" destOrd="0" presId="urn:microsoft.com/office/officeart/2005/8/layout/vList2"/>
    <dgm:cxn modelId="{7740230A-51BF-43AC-B633-3638A6D58338}" type="presParOf" srcId="{B14C58A9-1EDA-46D7-AE24-3E1149A1CF1D}" destId="{1E576B77-9494-4675-BF88-4282825B5A79}" srcOrd="5" destOrd="0" presId="urn:microsoft.com/office/officeart/2005/8/layout/vList2"/>
    <dgm:cxn modelId="{FA7A7464-53D9-4BB5-BED9-F06D9F7DE34F}" type="presParOf" srcId="{B14C58A9-1EDA-46D7-AE24-3E1149A1CF1D}" destId="{23AAC171-4955-45CB-9890-9796EDE3866E}" srcOrd="6" destOrd="0" presId="urn:microsoft.com/office/officeart/2005/8/layout/vList2"/>
    <dgm:cxn modelId="{106D321B-4532-4247-84BD-494314EC82D2}" type="presParOf" srcId="{B14C58A9-1EDA-46D7-AE24-3E1149A1CF1D}" destId="{EF417726-A39E-4F00-BA17-82DD19C7FC6B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0730A7-D4B8-41A4-9281-5BC6B6F9E0BB}">
      <dsp:nvSpPr>
        <dsp:cNvPr id="0" name=""/>
        <dsp:cNvSpPr/>
      </dsp:nvSpPr>
      <dsp:spPr>
        <a:xfrm>
          <a:off x="0" y="8517"/>
          <a:ext cx="3970405" cy="449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Maintenance</a:t>
          </a:r>
          <a:endParaRPr lang="en-DE" sz="1600" kern="1200" dirty="0"/>
        </a:p>
      </dsp:txBody>
      <dsp:txXfrm>
        <a:off x="21932" y="30449"/>
        <a:ext cx="3926541" cy="405416"/>
      </dsp:txXfrm>
    </dsp:sp>
    <dsp:sp modelId="{5684F10B-C58B-4D4C-85AF-B5C18AD31DDB}">
      <dsp:nvSpPr>
        <dsp:cNvPr id="0" name=""/>
        <dsp:cNvSpPr/>
      </dsp:nvSpPr>
      <dsp:spPr>
        <a:xfrm>
          <a:off x="0" y="457797"/>
          <a:ext cx="3970405" cy="7700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6060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Install</a:t>
          </a:r>
          <a:endParaRPr lang="en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Repair</a:t>
          </a:r>
          <a:endParaRPr lang="en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Maintain Service Quality</a:t>
          </a:r>
          <a:endParaRPr lang="en-DE" sz="1600" kern="1200" dirty="0"/>
        </a:p>
      </dsp:txBody>
      <dsp:txXfrm>
        <a:off x="0" y="457797"/>
        <a:ext cx="3970405" cy="770040"/>
      </dsp:txXfrm>
    </dsp:sp>
    <dsp:sp modelId="{92FD9731-9763-4F12-9C38-EA902A610FFA}">
      <dsp:nvSpPr>
        <dsp:cNvPr id="0" name=""/>
        <dsp:cNvSpPr/>
      </dsp:nvSpPr>
      <dsp:spPr>
        <a:xfrm>
          <a:off x="0" y="1227837"/>
          <a:ext cx="3970405" cy="449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Monitoring and Control</a:t>
          </a:r>
          <a:endParaRPr lang="en-DE" sz="1600" kern="1200" dirty="0"/>
        </a:p>
      </dsp:txBody>
      <dsp:txXfrm>
        <a:off x="21932" y="1249769"/>
        <a:ext cx="3926541" cy="405416"/>
      </dsp:txXfrm>
    </dsp:sp>
    <dsp:sp modelId="{68A0D9CA-364E-4AAE-B739-FA912F393AE1}">
      <dsp:nvSpPr>
        <dsp:cNvPr id="0" name=""/>
        <dsp:cNvSpPr/>
      </dsp:nvSpPr>
      <dsp:spPr>
        <a:xfrm>
          <a:off x="0" y="1677117"/>
          <a:ext cx="3970405" cy="5092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6060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Monitor positions</a:t>
          </a:r>
          <a:endParaRPr lang="en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Managing communications</a:t>
          </a:r>
          <a:endParaRPr lang="en-DE" sz="1600" kern="1200" dirty="0"/>
        </a:p>
      </dsp:txBody>
      <dsp:txXfrm>
        <a:off x="0" y="1677117"/>
        <a:ext cx="3970405" cy="509220"/>
      </dsp:txXfrm>
    </dsp:sp>
    <dsp:sp modelId="{6E1E0133-1D35-4591-876A-541B244ADF5A}">
      <dsp:nvSpPr>
        <dsp:cNvPr id="0" name=""/>
        <dsp:cNvSpPr/>
      </dsp:nvSpPr>
      <dsp:spPr>
        <a:xfrm>
          <a:off x="0" y="2186337"/>
          <a:ext cx="3970405" cy="449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Troubleshooting</a:t>
          </a:r>
          <a:endParaRPr lang="en-DE" sz="1600" kern="1200" dirty="0"/>
        </a:p>
      </dsp:txBody>
      <dsp:txXfrm>
        <a:off x="21932" y="2208269"/>
        <a:ext cx="3926541" cy="405416"/>
      </dsp:txXfrm>
    </dsp:sp>
    <dsp:sp modelId="{1E576B77-9494-4675-BF88-4282825B5A79}">
      <dsp:nvSpPr>
        <dsp:cNvPr id="0" name=""/>
        <dsp:cNvSpPr/>
      </dsp:nvSpPr>
      <dsp:spPr>
        <a:xfrm>
          <a:off x="0" y="2635617"/>
          <a:ext cx="3970405" cy="7700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6060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Diagnostics</a:t>
          </a:r>
          <a:endParaRPr lang="en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Resolve problems</a:t>
          </a:r>
          <a:endParaRPr lang="en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Minimize downtime</a:t>
          </a:r>
          <a:endParaRPr lang="en-DE" sz="1600" kern="1200" dirty="0"/>
        </a:p>
      </dsp:txBody>
      <dsp:txXfrm>
        <a:off x="0" y="2635617"/>
        <a:ext cx="3970405" cy="770040"/>
      </dsp:txXfrm>
    </dsp:sp>
    <dsp:sp modelId="{23AAC171-4955-45CB-9890-9796EDE3866E}">
      <dsp:nvSpPr>
        <dsp:cNvPr id="0" name=""/>
        <dsp:cNvSpPr/>
      </dsp:nvSpPr>
      <dsp:spPr>
        <a:xfrm>
          <a:off x="0" y="3405657"/>
          <a:ext cx="3970405" cy="449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oordination</a:t>
          </a:r>
          <a:endParaRPr lang="en-DE" sz="1600" kern="1200" dirty="0"/>
        </a:p>
      </dsp:txBody>
      <dsp:txXfrm>
        <a:off x="21932" y="3427589"/>
        <a:ext cx="3926541" cy="405416"/>
      </dsp:txXfrm>
    </dsp:sp>
    <dsp:sp modelId="{EF417726-A39E-4F00-BA17-82DD19C7FC6B}">
      <dsp:nvSpPr>
        <dsp:cNvPr id="0" name=""/>
        <dsp:cNvSpPr/>
      </dsp:nvSpPr>
      <dsp:spPr>
        <a:xfrm>
          <a:off x="0" y="3854937"/>
          <a:ext cx="3970405" cy="5092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6060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Manage conjunctions</a:t>
          </a:r>
          <a:endParaRPr lang="en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 dirty="0"/>
            <a:t>Avoid collisions</a:t>
          </a:r>
          <a:endParaRPr lang="en-DE" sz="1600" kern="1200" dirty="0"/>
        </a:p>
      </dsp:txBody>
      <dsp:txXfrm>
        <a:off x="0" y="3854937"/>
        <a:ext cx="3970405" cy="5092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301937" cy="341058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0797" y="1"/>
            <a:ext cx="4301937" cy="341058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r">
              <a:defRPr sz="1200"/>
            </a:lvl1pPr>
          </a:lstStyle>
          <a:p>
            <a:fld id="{CD803FDA-6B2B-4331-AD58-8FFCEE65CD5C}" type="datetimeFigureOut">
              <a:rPr lang="de-DE" smtClean="0"/>
              <a:t>14.11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51857"/>
            <a:ext cx="4301937" cy="341058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0797" y="6451857"/>
            <a:ext cx="4301937" cy="341058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r">
              <a:defRPr sz="1200"/>
            </a:lvl1pPr>
          </a:lstStyle>
          <a:p>
            <a:fld id="{5FE98216-9D52-48BA-8DAE-95BB22D8E1D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63295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40825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40825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r">
              <a:defRPr sz="1200"/>
            </a:lvl1pPr>
          </a:lstStyle>
          <a:p>
            <a:fld id="{E5DB2858-8A7D-4C86-A3ED-71F90EC02A94}" type="datetimeFigureOut">
              <a:rPr lang="de-DE" smtClean="0"/>
              <a:t>14.11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49313"/>
            <a:ext cx="4073525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3" tIns="45702" rIns="91403" bIns="45702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5" y="3269091"/>
            <a:ext cx="7940040" cy="2674710"/>
          </a:xfrm>
          <a:prstGeom prst="rect">
            <a:avLst/>
          </a:prstGeom>
        </p:spPr>
        <p:txBody>
          <a:bodyPr vert="horz" lIns="91403" tIns="45702" rIns="91403" bIns="45702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452090"/>
            <a:ext cx="4300855" cy="340824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452090"/>
            <a:ext cx="4300855" cy="340824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r">
              <a:defRPr sz="1200"/>
            </a:lvl1pPr>
          </a:lstStyle>
          <a:p>
            <a:fld id="{EA4805B9-B79A-421C-8A1E-A722C200E23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63240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4805B9-B79A-421C-8A1E-A722C200E23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78876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C64176-AAFD-AEF0-EBE0-55D9945942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0225C62-CB6C-1CA8-02B6-94FFED5631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B91A77C-1762-0800-0F95-6507F2F2BC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16EB83-FE04-D079-69FD-11709169EA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4805B9-B79A-421C-8A1E-A722C200E235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06241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4805B9-B79A-421C-8A1E-A722C200E235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68276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4805B9-B79A-421C-8A1E-A722C200E235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92848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4805B9-B79A-421C-8A1E-A722C200E235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1546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4805B9-B79A-421C-8A1E-A722C200E235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01620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4805B9-B79A-421C-8A1E-A722C200E235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2786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6FEDD6-0B51-9E54-D932-E0DE44646E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D97B7C4-F298-309C-D119-81CF183EDE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CDFE99-EB48-FD9F-8A3B-2453AFCF66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86A411-9C0F-220F-3A9D-0A77B9274F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4805B9-B79A-421C-8A1E-A722C200E235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2270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4805B9-B79A-421C-8A1E-A722C200E235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2529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4805B9-B79A-421C-8A1E-A722C200E235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33315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4805B9-B79A-421C-8A1E-A722C200E235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45466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3F8810D-3E73-4AC7-80C5-094BE0FA0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5017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3F8810D-3E73-4AC7-80C5-094BE0FA0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3111476-7599-42BC-BC54-95777E2204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114000"/>
              </a:lnSpc>
            </a:pPr>
            <a:endParaRPr lang="de-DE" sz="3001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09600" y="1978720"/>
            <a:ext cx="11572799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87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2AF1FCD-68D7-4630-991C-89B361BC31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33245" y="6480000"/>
            <a:ext cx="2849154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78EC56B4-65D0-4471-BEDC-F269260AF72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F1C08E9F-A3FD-428F-92B0-6A8CE48B9A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9107786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8">
            <a:extLst>
              <a:ext uri="{FF2B5EF4-FFF2-40B4-BE49-F238E27FC236}">
                <a16:creationId xmlns:a16="http://schemas.microsoft.com/office/drawing/2014/main" id="{84644EB2-E71A-453F-8AD1-C102DC1C364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844800"/>
            <a:ext cx="12192000" cy="4013200"/>
          </a:xfrm>
          <a:prstGeom prst="rect">
            <a:avLst/>
          </a:prstGeom>
        </p:spPr>
        <p:txBody>
          <a:bodyPr/>
          <a:lstStyle>
            <a:lvl1pPr>
              <a:defRPr sz="1867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499A838B-4C46-482D-AAEE-7139990239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9599" y="1764000"/>
            <a:ext cx="11572799" cy="661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67" noProof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EC451833-ACE1-4FE2-839D-3C246DC0BF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4" name="Fußzeilenplatzhalter 6">
            <a:extLst>
              <a:ext uri="{FF2B5EF4-FFF2-40B4-BE49-F238E27FC236}">
                <a16:creationId xmlns:a16="http://schemas.microsoft.com/office/drawing/2014/main" id="{85858271-E4A9-4B8C-A325-19C532D4C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  <p:sp>
        <p:nvSpPr>
          <p:cNvPr id="15" name="Foliennummernplatzhalter 7">
            <a:extLst>
              <a:ext uri="{FF2B5EF4-FFF2-40B4-BE49-F238E27FC236}">
                <a16:creationId xmlns:a16="http://schemas.microsoft.com/office/drawing/2014/main" id="{BFC64B9F-5CDF-40CA-880C-57641239A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33244" y="6480000"/>
            <a:ext cx="2849155" cy="365125"/>
          </a:xfrm>
          <a:prstGeom prst="rect">
            <a:avLst/>
          </a:prstGeom>
        </p:spPr>
        <p:txBody>
          <a:bodyPr anchor="ctr"/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29889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2">
            <a:extLst>
              <a:ext uri="{FF2B5EF4-FFF2-40B4-BE49-F238E27FC236}">
                <a16:creationId xmlns:a16="http://schemas.microsoft.com/office/drawing/2014/main" id="{1D7C8C6B-7314-4FC7-9861-04D409F498D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133601"/>
            <a:ext cx="12192000" cy="47243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867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D1B5270F-3718-4AA8-B5BA-E358C016D5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2AC01452-DD61-4AD7-8AB0-99E597D6F7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76CAE47B-B52F-4F59-A0B4-6D8ADA245D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33244" y="6480000"/>
            <a:ext cx="2849155" cy="365125"/>
          </a:xfrm>
          <a:prstGeom prst="rect">
            <a:avLst/>
          </a:prstGeom>
        </p:spPr>
        <p:txBody>
          <a:bodyPr anchor="ctr"/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19251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3509AFB-8458-4CB5-84B1-9BE642825E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3509AFB-8458-4CB5-84B1-9BE642825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6AFB3FC6-049C-4E32-AE9D-C77D3316A53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114000"/>
              </a:lnSpc>
            </a:pPr>
            <a:endParaRPr lang="de-DE" sz="3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9053619B-1A7F-4705-B38A-8701F7D91C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33245" y="6480000"/>
            <a:ext cx="2849154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DB5AF26A-0F3D-4EAA-9962-8086E644EFD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3659F063-8B1A-4365-91CD-DFE3765860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C4660288-8F56-4410-A8B2-D8A867D47A1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09600" y="1978720"/>
            <a:ext cx="11572799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87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</p:spTree>
    <p:extLst>
      <p:ext uri="{BB962C8B-B14F-4D97-AF65-F5344CB8AC3E}">
        <p14:creationId xmlns:p14="http://schemas.microsoft.com/office/powerpoint/2010/main" val="6611751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3509AFB-8458-4CB5-84B1-9BE642825E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3509AFB-8458-4CB5-84B1-9BE642825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6AFB3FC6-049C-4E32-AE9D-C77D3316A53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114000"/>
              </a:lnSpc>
            </a:pPr>
            <a:endParaRPr lang="de-DE" sz="3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9053619B-1A7F-4705-B38A-8701F7D91C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33245" y="6480000"/>
            <a:ext cx="2849154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DB5AF26A-0F3D-4EAA-9962-8086E644EFD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3659F063-8B1A-4365-91CD-DFE3765860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84A916D7-B3AD-4F05-AB95-0F8C5B500F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9601" y="1762188"/>
            <a:ext cx="11572798" cy="4699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70" noProof="0" dirty="0" smtClean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lang="de-DE" sz="1870" noProof="0" dirty="0" smtClean="0">
                <a:solidFill>
                  <a:schemeClr val="bg1"/>
                </a:solidFill>
              </a:defRPr>
            </a:lvl2pPr>
            <a:lvl3pPr>
              <a:defRPr sz="1870">
                <a:solidFill>
                  <a:schemeClr val="bg1"/>
                </a:solidFill>
              </a:defRPr>
            </a:lvl3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1040620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9">
            <a:extLst>
              <a:ext uri="{FF2B5EF4-FFF2-40B4-BE49-F238E27FC236}">
                <a16:creationId xmlns:a16="http://schemas.microsoft.com/office/drawing/2014/main" id="{F2129041-51A7-4483-8DFC-BBF1169A1F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33245" y="6480000"/>
            <a:ext cx="2849154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CCF80D7A-1078-4D24-BA73-E617E4F625A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88B56B78-836D-4A99-A787-AD0384ECC7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9A24BF8C-19C6-454D-9C52-ED50C5A4CFA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09599" y="2498400"/>
            <a:ext cx="11572799" cy="39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67" noProof="0" dirty="0" smtClean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lang="de-DE" sz="1867" noProof="0" dirty="0" smtClean="0">
                <a:solidFill>
                  <a:schemeClr val="bg1"/>
                </a:solidFill>
              </a:defRPr>
            </a:lvl2pPr>
            <a:lvl3pPr>
              <a:defRPr sz="1867" baseline="0">
                <a:solidFill>
                  <a:schemeClr val="bg1"/>
                </a:solidFill>
              </a:defRPr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0D6BE7E6-CA17-4C50-BA36-36413FADD8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9599" y="1764000"/>
            <a:ext cx="11572799" cy="673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67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2998307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E656EBBA-53D7-46E4-9ED6-AE185F6927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33245" y="6480000"/>
            <a:ext cx="2849154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C37F7C1C-F012-4D16-872F-A7AC69A36A8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0C91A161-E2B8-4697-A61A-C0E09E4C9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DCBAB96-6531-449F-9BAE-267E27316CE4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09599" y="1764000"/>
            <a:ext cx="5690403" cy="47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67" noProof="0" dirty="0" smtClean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lang="de-DE" sz="1867" noProof="0" dirty="0" smtClean="0">
                <a:solidFill>
                  <a:schemeClr val="bg1"/>
                </a:solidFill>
              </a:defRPr>
            </a:lvl2pPr>
            <a:lvl3pPr>
              <a:defRPr sz="1867" baseline="0">
                <a:solidFill>
                  <a:schemeClr val="bg1"/>
                </a:solidFill>
              </a:defRPr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0C6D61CD-CA9D-433D-91F9-E90473110CB6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196239" y="1764000"/>
            <a:ext cx="5686159" cy="47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67" noProof="0" dirty="0" smtClean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lang="de-DE" sz="1867" noProof="0" dirty="0" smtClean="0">
                <a:solidFill>
                  <a:schemeClr val="bg1"/>
                </a:solidFill>
              </a:defRPr>
            </a:lvl2pPr>
            <a:lvl3pPr>
              <a:defRPr sz="1867" baseline="0">
                <a:solidFill>
                  <a:schemeClr val="bg1"/>
                </a:solidFill>
              </a:defRPr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9202484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82A903E-4D23-4E11-ABB9-D0234D3131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33245" y="6480000"/>
            <a:ext cx="2849154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9FDD9195-3C4F-402B-9140-A1207DE4C10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30ADE111-01C1-4F28-9669-D6790DFBF1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5EFA23F3-F50B-48BD-A1B1-6C72885F56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9598" y="1764000"/>
            <a:ext cx="11572800" cy="661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67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5" name="Inhaltsplatzhalter 9">
            <a:extLst>
              <a:ext uri="{FF2B5EF4-FFF2-40B4-BE49-F238E27FC236}">
                <a16:creationId xmlns:a16="http://schemas.microsoft.com/office/drawing/2014/main" id="{99B273DE-E5A4-4EB6-8406-6B91971D7EE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09599" y="2498400"/>
            <a:ext cx="5697502" cy="3981856"/>
          </a:xfrm>
          <a:prstGeom prst="rect">
            <a:avLst/>
          </a:prstGeom>
        </p:spPr>
        <p:txBody>
          <a:bodyPr lIns="0" rIns="0"/>
          <a:lstStyle>
            <a:lvl1pPr>
              <a:defRPr lang="de-DE" sz="1867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sz="1867">
                <a:solidFill>
                  <a:schemeClr val="bg1"/>
                </a:solidFill>
              </a:defRPr>
            </a:lvl2pPr>
            <a:lvl3pPr>
              <a:defRPr sz="1867" baseline="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Inhalt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6" name="Bildplatzhalter 2">
            <a:extLst>
              <a:ext uri="{FF2B5EF4-FFF2-40B4-BE49-F238E27FC236}">
                <a16:creationId xmlns:a16="http://schemas.microsoft.com/office/drawing/2014/main" id="{1808D0D0-71D2-4CCC-9B5C-136871637EC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97600" y="2498400"/>
            <a:ext cx="5684798" cy="3981600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867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37449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9">
            <a:extLst>
              <a:ext uri="{FF2B5EF4-FFF2-40B4-BE49-F238E27FC236}">
                <a16:creationId xmlns:a16="http://schemas.microsoft.com/office/drawing/2014/main" id="{0EC8E88A-4F57-402B-B237-79FF721CAE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33245" y="6480000"/>
            <a:ext cx="2849154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F8EA77D6-3AE2-4B4A-8343-4447FDB1481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0EF42B40-173A-4764-805C-94BDEC2256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F11A393D-5628-43A0-87E0-D43156E54EB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844800"/>
            <a:ext cx="12192000" cy="4013200"/>
          </a:xfrm>
          <a:prstGeom prst="rect">
            <a:avLst/>
          </a:prstGeom>
        </p:spPr>
        <p:txBody>
          <a:bodyPr/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97E23406-31A2-4729-B404-74EC8D2CD7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9599" y="1764000"/>
            <a:ext cx="11572799" cy="661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67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2626454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9">
            <a:extLst>
              <a:ext uri="{FF2B5EF4-FFF2-40B4-BE49-F238E27FC236}">
                <a16:creationId xmlns:a16="http://schemas.microsoft.com/office/drawing/2014/main" id="{EC771B54-CB4A-4B97-B23D-3B0395B43D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33245" y="6480000"/>
            <a:ext cx="2849154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BEDDC5B4-CBE4-4B4B-83EE-51F7FE0CB97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D71B66C6-1B6B-43E4-B695-0783143182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C9054189-ACDD-4EC6-A5A8-ED51D89F276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133601"/>
            <a:ext cx="12192000" cy="47243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867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43233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3509AFB-8458-4CB5-84B1-9BE642825E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3509AFB-8458-4CB5-84B1-9BE642825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6AFB3FC6-049C-4E32-AE9D-C77D3316A53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114000"/>
              </a:lnSpc>
            </a:pPr>
            <a:endParaRPr lang="de-DE" sz="3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7895A20-EC79-4506-A98E-F4BB2A1A535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33245" y="6480000"/>
            <a:ext cx="2849154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18BD1988-F829-46C7-A90C-FB25B191171B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09600" y="1978720"/>
            <a:ext cx="11572799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87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A5E93671-9567-4E96-A539-07436389B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CC37A898-9DD7-4886-8732-6FD69F49C59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44177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3509AFB-8458-4CB5-84B1-9BE642825E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5294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3509AFB-8458-4CB5-84B1-9BE642825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4722615-D50B-4200-97A5-FEEF3CF24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114000"/>
              </a:lnSpc>
            </a:pPr>
            <a:endParaRPr lang="de-DE" sz="3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8CC01C03-EDF0-44A3-85BF-0082283B8B8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09601" y="1762188"/>
            <a:ext cx="11572797" cy="4699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70" noProof="0" dirty="0" smtClean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lang="de-DE" sz="1870" noProof="0" dirty="0" smtClean="0">
                <a:solidFill>
                  <a:schemeClr val="bg1"/>
                </a:solidFill>
              </a:defRPr>
            </a:lvl2pPr>
            <a:lvl3pPr>
              <a:defRPr sz="1870">
                <a:solidFill>
                  <a:schemeClr val="bg1"/>
                </a:solidFill>
              </a:defRPr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63B5FFA8-DF68-46A6-98CF-2EE2F4BB4F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33245" y="6480000"/>
            <a:ext cx="2849154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9E5ECA7A-F39C-4D3B-889D-A5A8DB48E5E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FE906ECA-309B-462A-9CA9-F5ABE1950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7882263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3509AFB-8458-4CB5-84B1-9BE642825E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3509AFB-8458-4CB5-84B1-9BE642825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6AFB3FC6-049C-4E32-AE9D-C77D3316A53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114000"/>
              </a:lnSpc>
            </a:pPr>
            <a:endParaRPr lang="de-DE" sz="3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8CC01C03-EDF0-44A3-85BF-0082283B8B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9601" y="1762188"/>
            <a:ext cx="11572798" cy="4699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70" noProof="0" dirty="0" smtClean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lang="de-DE" sz="1870" noProof="0" dirty="0" smtClean="0">
                <a:solidFill>
                  <a:schemeClr val="bg1"/>
                </a:solidFill>
              </a:defRPr>
            </a:lvl2pPr>
            <a:lvl3pPr>
              <a:defRPr sz="1870">
                <a:solidFill>
                  <a:schemeClr val="bg1"/>
                </a:solidFill>
              </a:defRPr>
            </a:lvl3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B30F4FAE-84CE-4A7E-996F-C72E71560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2" name="Foliennummernplatzhalter 9">
            <a:extLst>
              <a:ext uri="{FF2B5EF4-FFF2-40B4-BE49-F238E27FC236}">
                <a16:creationId xmlns:a16="http://schemas.microsoft.com/office/drawing/2014/main" id="{CA860527-1E90-4914-9C6D-E0E47A5A52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33245" y="6480000"/>
            <a:ext cx="2849154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23433750-DB33-4842-A8B2-3580927F7D7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19410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09599" y="2498400"/>
            <a:ext cx="11572799" cy="39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67" noProof="0" dirty="0" smtClean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lang="de-DE" sz="1867" noProof="0" dirty="0" smtClean="0">
                <a:solidFill>
                  <a:schemeClr val="bg1"/>
                </a:solidFill>
              </a:defRPr>
            </a:lvl2pPr>
            <a:lvl3pPr>
              <a:defRPr sz="1867" baseline="0">
                <a:solidFill>
                  <a:schemeClr val="bg1"/>
                </a:solidFill>
              </a:defRPr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09599" y="1764000"/>
            <a:ext cx="11572799" cy="673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67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C7799E94-D8F2-42B6-94CA-0D3DF1C86E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9" name="Foliennummernplatzhalter 9">
            <a:extLst>
              <a:ext uri="{FF2B5EF4-FFF2-40B4-BE49-F238E27FC236}">
                <a16:creationId xmlns:a16="http://schemas.microsoft.com/office/drawing/2014/main" id="{240962F3-A975-4697-A06C-6B762AA100F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33245" y="6480000"/>
            <a:ext cx="2849154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FCD13AEC-C30F-4076-857A-94D939D5BF2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48297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09599" y="1764000"/>
            <a:ext cx="5690403" cy="47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67" noProof="0" dirty="0" smtClean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lang="de-DE" sz="1867" noProof="0" dirty="0" smtClean="0">
                <a:solidFill>
                  <a:schemeClr val="bg1"/>
                </a:solidFill>
              </a:defRPr>
            </a:lvl2pPr>
            <a:lvl3pPr>
              <a:defRPr sz="1867" baseline="0">
                <a:solidFill>
                  <a:schemeClr val="bg1"/>
                </a:solidFill>
              </a:defRPr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6196239" y="1764000"/>
            <a:ext cx="5686159" cy="47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67" noProof="0" dirty="0" smtClean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lang="de-DE" sz="1867" noProof="0" dirty="0" smtClean="0">
                <a:solidFill>
                  <a:schemeClr val="bg1"/>
                </a:solidFill>
              </a:defRPr>
            </a:lvl2pPr>
            <a:lvl3pPr>
              <a:defRPr sz="1867" baseline="0">
                <a:solidFill>
                  <a:schemeClr val="bg1"/>
                </a:solidFill>
              </a:defRPr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72CCA187-C5C2-4BA9-8048-42B075ABFE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9" name="Foliennummernplatzhalter 9">
            <a:extLst>
              <a:ext uri="{FF2B5EF4-FFF2-40B4-BE49-F238E27FC236}">
                <a16:creationId xmlns:a16="http://schemas.microsoft.com/office/drawing/2014/main" id="{B28CE9E4-4211-43A1-A3EF-D495D5803C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33245" y="6480000"/>
            <a:ext cx="2849154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B49376BE-174B-4EC7-ACE8-CE68AC1CE23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18120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09598" y="1764000"/>
            <a:ext cx="11572800" cy="661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67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 hasCustomPrompt="1"/>
          </p:nvPr>
        </p:nvSpPr>
        <p:spPr>
          <a:xfrm>
            <a:off x="309599" y="2498400"/>
            <a:ext cx="5697502" cy="3981856"/>
          </a:xfrm>
          <a:prstGeom prst="rect">
            <a:avLst/>
          </a:prstGeom>
        </p:spPr>
        <p:txBody>
          <a:bodyPr lIns="0" rIns="0"/>
          <a:lstStyle>
            <a:lvl1pPr>
              <a:defRPr lang="de-DE" sz="1867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sz="1867">
                <a:solidFill>
                  <a:schemeClr val="bg1"/>
                </a:solidFill>
              </a:defRPr>
            </a:lvl2pPr>
            <a:lvl3pPr>
              <a:defRPr sz="1867" baseline="0">
                <a:solidFill>
                  <a:schemeClr val="bg1"/>
                </a:solidFill>
              </a:defRPr>
            </a:lvl3pPr>
          </a:lstStyle>
          <a:p>
            <a:pPr lvl="0"/>
            <a:r>
              <a:rPr lang="de-DE"/>
              <a:t>Inhalt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6197600" y="2498400"/>
            <a:ext cx="5684798" cy="3981600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867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95D6E8A2-CD01-47D8-AB8D-EF5E2291E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2" name="Foliennummernplatzhalter 9">
            <a:extLst>
              <a:ext uri="{FF2B5EF4-FFF2-40B4-BE49-F238E27FC236}">
                <a16:creationId xmlns:a16="http://schemas.microsoft.com/office/drawing/2014/main" id="{0F951105-A6EF-4A36-BF44-C884B85837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33245" y="6480000"/>
            <a:ext cx="2849154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48E75659-42FC-4AA6-87C8-EA5FE6A1C82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67886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844800"/>
            <a:ext cx="12192000" cy="4013200"/>
          </a:xfrm>
          <a:prstGeom prst="rect">
            <a:avLst/>
          </a:prstGeom>
        </p:spPr>
        <p:txBody>
          <a:bodyPr/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09599" y="1764000"/>
            <a:ext cx="11572799" cy="661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67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68A5BE84-06FA-4CE8-A7BD-8D4E0B8F27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E49195FB-781E-45DA-862F-B7F20FA956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33245" y="6480000"/>
            <a:ext cx="2849154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816ACF6C-A8FF-4BF6-8EAF-FA6C229377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88293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2133601"/>
            <a:ext cx="12192000" cy="47243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867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67F58D0D-A157-4310-B092-B33A6520D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9" name="Foliennummernplatzhalter 9">
            <a:extLst>
              <a:ext uri="{FF2B5EF4-FFF2-40B4-BE49-F238E27FC236}">
                <a16:creationId xmlns:a16="http://schemas.microsoft.com/office/drawing/2014/main" id="{AA40847C-EB12-422C-B18B-FCB165CC7CA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33245" y="6480000"/>
            <a:ext cx="2849154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E4DE4CD7-8DA4-4B9B-B9A4-CB520D41EE4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48846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09601" y="2498400"/>
            <a:ext cx="11572799" cy="39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67" noProof="0" dirty="0" smtClean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lang="de-DE" sz="1867" noProof="0" dirty="0" smtClean="0">
                <a:solidFill>
                  <a:schemeClr val="bg1"/>
                </a:solidFill>
              </a:defRPr>
            </a:lvl2pPr>
            <a:lvl3pPr>
              <a:defRPr sz="1867" baseline="0">
                <a:solidFill>
                  <a:schemeClr val="bg1"/>
                </a:solidFill>
              </a:defRPr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09601" y="1764000"/>
            <a:ext cx="11572799" cy="673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67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9" name="Foliennummernplatzhalter 9">
            <a:extLst>
              <a:ext uri="{FF2B5EF4-FFF2-40B4-BE49-F238E27FC236}">
                <a16:creationId xmlns:a16="http://schemas.microsoft.com/office/drawing/2014/main" id="{53BCD7CE-BBD5-4A96-ABD0-3E7F0C421D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33245" y="6480000"/>
            <a:ext cx="2849154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5E02DC51-467C-4EDF-85C0-F28DA1BCD1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FA35DC7E-FC6F-434C-9884-E4CA256C5C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87682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 bwMode="auto">
          <a:xfrm>
            <a:off x="11130180" y="6408271"/>
            <a:ext cx="766981" cy="3585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35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BAD49FAC-ECCD-4063-B68A-E8BBB485CD7F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309600" y="1978720"/>
            <a:ext cx="11572799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870" baseline="0" noProof="0" dirty="0" smtClean="0">
                <a:solidFill>
                  <a:schemeClr val="tx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5C98D6C-29C4-408B-86B9-674B32EB16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952E072-CA4F-4BCA-9635-C65D84EAB7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33244" y="6480000"/>
            <a:ext cx="2849155" cy="365125"/>
          </a:xfrm>
          <a:prstGeom prst="rect">
            <a:avLst/>
          </a:prstGeom>
        </p:spPr>
        <p:txBody>
          <a:bodyPr anchor="ctr"/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FAD161F6-BE54-4C24-B9BD-CFFC9018BE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4569325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56B17F68-B3EA-4D66-A8DE-5C96D6D7B5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09601" y="1762188"/>
            <a:ext cx="11572797" cy="4699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70" noProof="0" dirty="0" smtClean="0">
                <a:solidFill>
                  <a:schemeClr val="tx1"/>
                </a:solidFill>
              </a:defRPr>
            </a:lvl1pPr>
            <a:lvl2pPr>
              <a:lnSpc>
                <a:spcPct val="114000"/>
              </a:lnSpc>
              <a:defRPr lang="de-DE" sz="1870" noProof="0" dirty="0" smtClean="0">
                <a:solidFill>
                  <a:schemeClr val="tx1"/>
                </a:solidFill>
              </a:defRPr>
            </a:lvl2pPr>
            <a:lvl3pPr>
              <a:defRPr sz="187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19095F55-535F-4C85-866C-938727C2BF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A6B8152C-5246-47F4-8F69-F589BFEF8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22651480-CAF0-48B9-896A-86F1563BD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33244" y="6480000"/>
            <a:ext cx="2849155" cy="365125"/>
          </a:xfrm>
          <a:prstGeom prst="rect">
            <a:avLst/>
          </a:prstGeom>
        </p:spPr>
        <p:txBody>
          <a:bodyPr anchor="ctr"/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12679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F3FD8FF6-5F5A-40F0-8DF5-02AEA0B254F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09601" y="2498400"/>
            <a:ext cx="11572799" cy="39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67" noProof="0" dirty="0" smtClean="0">
                <a:solidFill>
                  <a:schemeClr val="tx1"/>
                </a:solidFill>
              </a:defRPr>
            </a:lvl1pPr>
            <a:lvl2pPr>
              <a:lnSpc>
                <a:spcPct val="114000"/>
              </a:lnSpc>
              <a:defRPr lang="de-DE" sz="1867" noProof="0" dirty="0" smtClean="0">
                <a:solidFill>
                  <a:schemeClr val="tx1"/>
                </a:solidFill>
              </a:defRPr>
            </a:lvl2pPr>
            <a:lvl3pPr>
              <a:defRPr sz="1867" baseline="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77DCBD1C-467C-496C-81B1-2CDD72D98A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9601" y="1764000"/>
            <a:ext cx="11572799" cy="673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67" noProof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34514BC7-B2BF-456E-B95E-042DAE3B2E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B677FE6E-07DF-48C0-A60D-EFA4F65AF5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B6240D6-0073-4690-A5BE-4D15D2C3E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33244" y="6480000"/>
            <a:ext cx="2849155" cy="365125"/>
          </a:xfrm>
          <a:prstGeom prst="rect">
            <a:avLst/>
          </a:prstGeom>
        </p:spPr>
        <p:txBody>
          <a:bodyPr anchor="ctr"/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04126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DF9946D-4748-4E8C-A9BB-751411CCD874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09599" y="1764000"/>
            <a:ext cx="5690403" cy="47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67" noProof="0" dirty="0" smtClean="0">
                <a:solidFill>
                  <a:schemeClr val="tx1"/>
                </a:solidFill>
              </a:defRPr>
            </a:lvl1pPr>
            <a:lvl2pPr>
              <a:lnSpc>
                <a:spcPct val="114000"/>
              </a:lnSpc>
              <a:defRPr lang="de-DE" sz="1867" noProof="0" dirty="0" smtClean="0">
                <a:solidFill>
                  <a:schemeClr val="tx1"/>
                </a:solidFill>
              </a:defRPr>
            </a:lvl2pPr>
            <a:lvl3pPr>
              <a:defRPr sz="1867" baseline="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4DC8A642-2425-4689-8A8E-2C71D3E3BC7D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196239" y="1764000"/>
            <a:ext cx="5686159" cy="47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67" noProof="0" dirty="0" smtClean="0">
                <a:solidFill>
                  <a:schemeClr val="tx1"/>
                </a:solidFill>
              </a:defRPr>
            </a:lvl1pPr>
            <a:lvl2pPr>
              <a:lnSpc>
                <a:spcPct val="114000"/>
              </a:lnSpc>
              <a:defRPr lang="de-DE" sz="1867" noProof="0" dirty="0" smtClean="0">
                <a:solidFill>
                  <a:schemeClr val="tx1"/>
                </a:solidFill>
              </a:defRPr>
            </a:lvl2pPr>
            <a:lvl3pPr>
              <a:defRPr sz="1867" baseline="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5FD5EBD6-A37C-40C1-9829-CA4C7A6A00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4" name="Fußzeilenplatzhalter 6">
            <a:extLst>
              <a:ext uri="{FF2B5EF4-FFF2-40B4-BE49-F238E27FC236}">
                <a16:creationId xmlns:a16="http://schemas.microsoft.com/office/drawing/2014/main" id="{0AD1E08C-CB48-4FF0-9474-BAE1804A1E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  <p:sp>
        <p:nvSpPr>
          <p:cNvPr id="15" name="Foliennummernplatzhalter 7">
            <a:extLst>
              <a:ext uri="{FF2B5EF4-FFF2-40B4-BE49-F238E27FC236}">
                <a16:creationId xmlns:a16="http://schemas.microsoft.com/office/drawing/2014/main" id="{3B919D46-40BD-4925-ADDC-0273F35299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33244" y="6480000"/>
            <a:ext cx="2849155" cy="365125"/>
          </a:xfrm>
          <a:prstGeom prst="rect">
            <a:avLst/>
          </a:prstGeom>
        </p:spPr>
        <p:txBody>
          <a:bodyPr anchor="ctr"/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1501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7">
            <a:extLst>
              <a:ext uri="{FF2B5EF4-FFF2-40B4-BE49-F238E27FC236}">
                <a16:creationId xmlns:a16="http://schemas.microsoft.com/office/drawing/2014/main" id="{15717B5A-6187-4CBC-9485-63B1EB2E97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9598" y="1764000"/>
            <a:ext cx="11572800" cy="661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67" noProof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C5BD1C6-CEB8-46FF-8969-264AE4080CE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09599" y="2498400"/>
            <a:ext cx="5697502" cy="3981856"/>
          </a:xfrm>
          <a:prstGeom prst="rect">
            <a:avLst/>
          </a:prstGeom>
        </p:spPr>
        <p:txBody>
          <a:bodyPr lIns="0" rIns="0"/>
          <a:lstStyle>
            <a:lvl1pPr>
              <a:defRPr lang="de-DE" sz="1867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867">
                <a:solidFill>
                  <a:schemeClr val="tx1"/>
                </a:solidFill>
              </a:defRPr>
            </a:lvl2pPr>
            <a:lvl3pPr>
              <a:defRPr sz="1867" baseline="0"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Inhalt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Bildplatzhalter 2">
            <a:extLst>
              <a:ext uri="{FF2B5EF4-FFF2-40B4-BE49-F238E27FC236}">
                <a16:creationId xmlns:a16="http://schemas.microsoft.com/office/drawing/2014/main" id="{C0696655-97FD-4071-A705-ECB5E2CB04C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97600" y="2498400"/>
            <a:ext cx="5684798" cy="3981600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867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7CA577AF-D699-43EA-BB7F-26987EC092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6" name="Fußzeilenplatzhalter 6">
            <a:extLst>
              <a:ext uri="{FF2B5EF4-FFF2-40B4-BE49-F238E27FC236}">
                <a16:creationId xmlns:a16="http://schemas.microsoft.com/office/drawing/2014/main" id="{DC2B8AF3-7742-4E36-A0D3-4203882B90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  <p:sp>
        <p:nvSpPr>
          <p:cNvPr id="17" name="Foliennummernplatzhalter 7">
            <a:extLst>
              <a:ext uri="{FF2B5EF4-FFF2-40B4-BE49-F238E27FC236}">
                <a16:creationId xmlns:a16="http://schemas.microsoft.com/office/drawing/2014/main" id="{2B7E2283-3D56-4329-AA59-56BACABC19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33244" y="6480000"/>
            <a:ext cx="2849155" cy="365125"/>
          </a:xfrm>
          <a:prstGeom prst="rect">
            <a:avLst/>
          </a:prstGeom>
        </p:spPr>
        <p:txBody>
          <a:bodyPr anchor="ctr"/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54947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477140"/>
            <a:ext cx="12192000" cy="43808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D95ADC69-BF26-421D-A7D1-5E69DCFAB9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9598" y="1764000"/>
            <a:ext cx="11572800" cy="661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867" noProof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2" name="Inhaltsplatzhalter 9">
            <a:extLst>
              <a:ext uri="{FF2B5EF4-FFF2-40B4-BE49-F238E27FC236}">
                <a16:creationId xmlns:a16="http://schemas.microsoft.com/office/drawing/2014/main" id="{D24A46B6-2150-4088-8413-EC6280AD1F2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09599" y="2498400"/>
            <a:ext cx="5697502" cy="3981856"/>
          </a:xfrm>
          <a:prstGeom prst="rect">
            <a:avLst/>
          </a:prstGeom>
        </p:spPr>
        <p:txBody>
          <a:bodyPr lIns="0" rIns="0"/>
          <a:lstStyle>
            <a:lvl1pPr>
              <a:defRPr lang="de-DE" sz="1867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867">
                <a:solidFill>
                  <a:schemeClr val="tx1"/>
                </a:solidFill>
              </a:defRPr>
            </a:lvl2pPr>
            <a:lvl3pPr>
              <a:defRPr sz="1867" baseline="0"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Inhalt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22C57A00-4066-482D-B741-A47F2A11009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97600" y="2498400"/>
            <a:ext cx="5684798" cy="3981600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867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7D5A67E3-75AA-4FD1-AA00-5958FC3A2C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04" y="994338"/>
            <a:ext cx="115727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1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7" name="Fußzeilenplatzhalter 6">
            <a:extLst>
              <a:ext uri="{FF2B5EF4-FFF2-40B4-BE49-F238E27FC236}">
                <a16:creationId xmlns:a16="http://schemas.microsoft.com/office/drawing/2014/main" id="{F6386B4B-6E7A-473C-88C7-60DBB0777D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9600" y="6480000"/>
            <a:ext cx="8723645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cs typeface="Arial" charset="0"/>
            </a:endParaRPr>
          </a:p>
        </p:txBody>
      </p:sp>
      <p:sp>
        <p:nvSpPr>
          <p:cNvPr id="19" name="Foliennummernplatzhalter 7">
            <a:extLst>
              <a:ext uri="{FF2B5EF4-FFF2-40B4-BE49-F238E27FC236}">
                <a16:creationId xmlns:a16="http://schemas.microsoft.com/office/drawing/2014/main" id="{5FF71C15-08CE-4BD0-B55F-4195D9ABD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33244" y="6480000"/>
            <a:ext cx="2849155" cy="365125"/>
          </a:xfrm>
          <a:prstGeom prst="rect">
            <a:avLst/>
          </a:prstGeom>
        </p:spPr>
        <p:txBody>
          <a:bodyPr anchor="ctr"/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8658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Relationship Id="rId9" Type="http://schemas.openxmlformats.org/officeDocument/2006/relationships/image" Target="../media/image3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8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7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6.jpeg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7.xml"/><Relationship Id="rId14" Type="http://schemas.openxmlformats.org/officeDocument/2006/relationships/image" Target="../media/image5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3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22.xml"/><Relationship Id="rId9" Type="http://schemas.openxmlformats.org/officeDocument/2006/relationships/tags" Target="../tags/tag12.xml"/><Relationship Id="rId1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0E85BEE-C928-4F0D-90C9-72D520759E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8213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425" imgH="424" progId="TCLayout.ActiveDocument.1">
                  <p:embed/>
                </p:oleObj>
              </mc:Choice>
              <mc:Fallback>
                <p:oleObj name="think-cell Folie" r:id="rId6" imgW="425" imgH="42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0E85BEE-C928-4F0D-90C9-72D520759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75705EBE-2695-944B-9EF5-13026B4FC43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350" y="390"/>
            <a:ext cx="12191305" cy="6857609"/>
          </a:xfrm>
          <a:prstGeom prst="rect">
            <a:avLst/>
          </a:prstGeom>
        </p:spPr>
      </p:pic>
      <p:pic>
        <p:nvPicPr>
          <p:cNvPr id="8" name="Bild 6">
            <a:extLst>
              <a:ext uri="{FF2B5EF4-FFF2-40B4-BE49-F238E27FC236}">
                <a16:creationId xmlns:a16="http://schemas.microsoft.com/office/drawing/2014/main" id="{595CFDC3-DFCD-4A8B-8B36-2B6C8740396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9370" y="314325"/>
            <a:ext cx="621419" cy="329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55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863" r:id="rId2"/>
    <p:sldLayoutId id="2147483864" r:id="rId3"/>
  </p:sldLayoutIdLst>
  <p:hf hdr="0" ft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1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166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332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498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664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01" indent="-176201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38" indent="-184138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1" kern="1200">
          <a:solidFill>
            <a:schemeClr val="tx1"/>
          </a:solidFill>
          <a:latin typeface="+mn-lt"/>
          <a:ea typeface="+mn-ea"/>
          <a:cs typeface="+mn-cs"/>
        </a:defRPr>
      </a:lvl3pPr>
      <a:lvl4pPr marL="538123" indent="-177786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1" kern="1200">
          <a:solidFill>
            <a:schemeClr val="tx1"/>
          </a:solidFill>
          <a:latin typeface="+mn-lt"/>
          <a:ea typeface="+mn-ea"/>
          <a:cs typeface="+mn-cs"/>
        </a:defRPr>
      </a:lvl4pPr>
      <a:lvl5pPr marL="714322" indent="-176201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08" indent="-228584" algn="l" defTabSz="9143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8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6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23378745-CFBA-A047-9871-DFFDA5893A6F}"/>
              </a:ext>
            </a:extLst>
          </p:cNvPr>
          <p:cNvGrpSpPr/>
          <p:nvPr userDrawn="1"/>
        </p:nvGrpSpPr>
        <p:grpSpPr>
          <a:xfrm>
            <a:off x="336000" y="316799"/>
            <a:ext cx="11519136" cy="377636"/>
            <a:chOff x="252000" y="237599"/>
            <a:chExt cx="8639352" cy="283227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3223DA89-E6FA-1748-9127-E45FD1E2B57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13200" y="252000"/>
              <a:ext cx="478152" cy="251999"/>
            </a:xfrm>
            <a:prstGeom prst="rect">
              <a:avLst/>
            </a:prstGeom>
          </p:spPr>
        </p:pic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B45AA0FE-CD69-0447-A402-A76408AC9304}"/>
                </a:ext>
              </a:extLst>
            </p:cNvPr>
            <p:cNvSpPr txBox="1"/>
            <p:nvPr userDrawn="1"/>
          </p:nvSpPr>
          <p:spPr>
            <a:xfrm>
              <a:off x="640800" y="243250"/>
              <a:ext cx="7992434" cy="2775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4000"/>
                </a:lnSpc>
                <a:tabLst/>
              </a:pPr>
              <a:r>
                <a:rPr lang="en-US" sz="853" baseline="0">
                  <a:solidFill>
                    <a:schemeClr val="bg2"/>
                  </a:solidFill>
                  <a:latin typeface="+mn-lt"/>
                </a:rPr>
                <a:t>Chair of Spacecraft Systems</a:t>
              </a:r>
            </a:p>
            <a:p>
              <a:pPr>
                <a:lnSpc>
                  <a:spcPct val="94000"/>
                </a:lnSpc>
                <a:tabLst/>
              </a:pPr>
              <a:r>
                <a:rPr lang="en-US" sz="853" baseline="0">
                  <a:solidFill>
                    <a:schemeClr val="bg2"/>
                  </a:solidFill>
                  <a:latin typeface="+mn-lt"/>
                </a:rPr>
                <a:t>School of Engineering and Design</a:t>
              </a:r>
            </a:p>
            <a:p>
              <a:pPr>
                <a:lnSpc>
                  <a:spcPct val="94000"/>
                </a:lnSpc>
                <a:tabLst/>
              </a:pPr>
              <a:r>
                <a:rPr lang="en-US" sz="853" baseline="0">
                  <a:solidFill>
                    <a:schemeClr val="bg2"/>
                  </a:solidFill>
                  <a:latin typeface="+mn-lt"/>
                </a:rPr>
                <a:t>Technical University of Munich</a:t>
              </a:r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9AC6B03F-1E54-7C4C-8491-634050ED5F5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2000" y="237599"/>
              <a:ext cx="266400" cy="266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7443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</p:sldLayoutIdLst>
  <p:hf hdr="0" ft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178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354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532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709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05" indent="-176205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46" indent="-184142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36" indent="-177792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39" indent="-176205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466CF1E7-2172-4A67-B5A2-90FDC75C7B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85F2E6A-7B32-4838-87B8-1F855633C0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425" imgH="424" progId="TCLayout.ActiveDocument.1">
                  <p:embed/>
                </p:oleObj>
              </mc:Choice>
              <mc:Fallback>
                <p:oleObj name="think-cell Folie" r:id="rId11" imgW="425" imgH="42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85F2E6A-7B32-4838-87B8-1F855633C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EC18220-4863-4D49-A3DD-E9CE6471402F}"/>
              </a:ext>
            </a:extLst>
          </p:cNvPr>
          <p:cNvGrpSpPr/>
          <p:nvPr userDrawn="1"/>
        </p:nvGrpSpPr>
        <p:grpSpPr>
          <a:xfrm>
            <a:off x="336000" y="316799"/>
            <a:ext cx="11519136" cy="377636"/>
            <a:chOff x="252000" y="237599"/>
            <a:chExt cx="8639352" cy="283227"/>
          </a:xfrm>
        </p:grpSpPr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0A0E917-948D-4D9A-BDF1-96A263FC4F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13200" y="252000"/>
              <a:ext cx="478152" cy="251999"/>
            </a:xfrm>
            <a:prstGeom prst="rect">
              <a:avLst/>
            </a:prstGeom>
          </p:spPr>
        </p:pic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6DF927CD-5B7A-40D3-BFF4-A489B16B1091}"/>
                </a:ext>
              </a:extLst>
            </p:cNvPr>
            <p:cNvSpPr txBox="1"/>
            <p:nvPr userDrawn="1"/>
          </p:nvSpPr>
          <p:spPr>
            <a:xfrm>
              <a:off x="640800" y="243250"/>
              <a:ext cx="7992434" cy="2775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4000"/>
                </a:lnSpc>
                <a:tabLst/>
              </a:pPr>
              <a:r>
                <a:rPr lang="en-US" sz="853" baseline="0">
                  <a:solidFill>
                    <a:schemeClr val="bg2"/>
                  </a:solidFill>
                  <a:latin typeface="+mn-lt"/>
                </a:rPr>
                <a:t>Chair of Spacecraft Systems</a:t>
              </a:r>
            </a:p>
            <a:p>
              <a:pPr>
                <a:lnSpc>
                  <a:spcPct val="94000"/>
                </a:lnSpc>
                <a:tabLst/>
              </a:pPr>
              <a:r>
                <a:rPr lang="en-US" sz="853" baseline="0">
                  <a:solidFill>
                    <a:schemeClr val="bg2"/>
                  </a:solidFill>
                  <a:latin typeface="+mn-lt"/>
                </a:rPr>
                <a:t>School of Engineering and Design</a:t>
              </a:r>
            </a:p>
            <a:p>
              <a:pPr>
                <a:lnSpc>
                  <a:spcPct val="94000"/>
                </a:lnSpc>
                <a:tabLst/>
              </a:pPr>
              <a:r>
                <a:rPr lang="en-US" sz="853" baseline="0">
                  <a:solidFill>
                    <a:schemeClr val="bg2"/>
                  </a:solidFill>
                  <a:latin typeface="+mn-lt"/>
                </a:rPr>
                <a:t>Technical University of Munich</a:t>
              </a:r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84A0D4E2-8C3E-4943-AA9F-2975D2167F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2000" y="237599"/>
              <a:ext cx="266400" cy="266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82243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  <p:sldLayoutId id="2147483873" r:id="rId7"/>
  </p:sldLayoutIdLst>
  <p:hf hdr="0" ft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1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166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332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498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664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01" indent="-176201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38" indent="-184138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1" kern="1200">
          <a:solidFill>
            <a:schemeClr val="tx1"/>
          </a:solidFill>
          <a:latin typeface="+mn-lt"/>
          <a:ea typeface="+mn-ea"/>
          <a:cs typeface="+mn-cs"/>
        </a:defRPr>
      </a:lvl3pPr>
      <a:lvl4pPr marL="538123" indent="-177786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1" kern="1200">
          <a:solidFill>
            <a:schemeClr val="tx1"/>
          </a:solidFill>
          <a:latin typeface="+mn-lt"/>
          <a:ea typeface="+mn-ea"/>
          <a:cs typeface="+mn-cs"/>
        </a:defRPr>
      </a:lvl4pPr>
      <a:lvl5pPr marL="714322" indent="-176201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08" indent="-228584" algn="l" defTabSz="9143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8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6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85F2E6A-7B32-4838-87B8-1F855633C0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425" imgH="424" progId="TCLayout.ActiveDocument.1">
                  <p:embed/>
                </p:oleObj>
              </mc:Choice>
              <mc:Fallback>
                <p:oleObj name="think-cell Folie" r:id="rId10" imgW="425" imgH="42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85F2E6A-7B32-4838-87B8-1F855633C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75705EBE-2695-944B-9EF5-13026B4FC43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rcRect/>
          <a:stretch/>
        </p:blipFill>
        <p:spPr>
          <a:xfrm>
            <a:off x="350" y="390"/>
            <a:ext cx="12191305" cy="6857609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6D257F96-CECD-47CF-A6F8-6AB9F9EEC265}"/>
              </a:ext>
            </a:extLst>
          </p:cNvPr>
          <p:cNvGrpSpPr/>
          <p:nvPr userDrawn="1"/>
        </p:nvGrpSpPr>
        <p:grpSpPr>
          <a:xfrm>
            <a:off x="336000" y="316799"/>
            <a:ext cx="11519136" cy="377636"/>
            <a:chOff x="252000" y="237599"/>
            <a:chExt cx="8639352" cy="283227"/>
          </a:xfrm>
        </p:grpSpPr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74CC62D7-1C62-4133-834E-3E317F3D19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13200" y="252000"/>
              <a:ext cx="478152" cy="251999"/>
            </a:xfrm>
            <a:prstGeom prst="rect">
              <a:avLst/>
            </a:prstGeom>
          </p:spPr>
        </p:pic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7BB8F84D-367E-4F3D-A6CB-4B0AF98E04A4}"/>
                </a:ext>
              </a:extLst>
            </p:cNvPr>
            <p:cNvSpPr txBox="1"/>
            <p:nvPr userDrawn="1"/>
          </p:nvSpPr>
          <p:spPr>
            <a:xfrm>
              <a:off x="640800" y="243250"/>
              <a:ext cx="7992434" cy="2775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4000"/>
                </a:lnSpc>
                <a:tabLst/>
              </a:pPr>
              <a:r>
                <a:rPr lang="en-US" sz="853" baseline="0">
                  <a:solidFill>
                    <a:schemeClr val="bg2"/>
                  </a:solidFill>
                  <a:latin typeface="+mn-lt"/>
                </a:rPr>
                <a:t>Chair of Spacecraft Systems</a:t>
              </a:r>
            </a:p>
            <a:p>
              <a:pPr>
                <a:lnSpc>
                  <a:spcPct val="94000"/>
                </a:lnSpc>
                <a:tabLst/>
              </a:pPr>
              <a:r>
                <a:rPr lang="en-US" sz="853" baseline="0">
                  <a:solidFill>
                    <a:schemeClr val="bg2"/>
                  </a:solidFill>
                  <a:latin typeface="+mn-lt"/>
                </a:rPr>
                <a:t>School of Engineering and Design</a:t>
              </a:r>
            </a:p>
            <a:p>
              <a:pPr>
                <a:lnSpc>
                  <a:spcPct val="94000"/>
                </a:lnSpc>
                <a:tabLst/>
              </a:pPr>
              <a:r>
                <a:rPr lang="en-US" sz="853" baseline="0">
                  <a:solidFill>
                    <a:schemeClr val="bg2"/>
                  </a:solidFill>
                  <a:latin typeface="+mn-lt"/>
                </a:rPr>
                <a:t>Technical University of Munich</a:t>
              </a:r>
            </a:p>
          </p:txBody>
        </p:sp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8D458B3B-111D-4742-B6AE-59FE0E14D7D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2000" y="237599"/>
              <a:ext cx="266400" cy="266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1538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65" r:id="rId2"/>
    <p:sldLayoutId id="2147483818" r:id="rId3"/>
    <p:sldLayoutId id="2147483819" r:id="rId4"/>
    <p:sldLayoutId id="2147483820" r:id="rId5"/>
    <p:sldLayoutId id="2147483821" r:id="rId6"/>
    <p:sldLayoutId id="2147483822" r:id="rId7"/>
  </p:sldLayoutIdLst>
  <p:hf hdr="0" ft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1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166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332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498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664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01" indent="-176201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38" indent="-184138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1" kern="1200">
          <a:solidFill>
            <a:schemeClr val="tx1"/>
          </a:solidFill>
          <a:latin typeface="+mn-lt"/>
          <a:ea typeface="+mn-ea"/>
          <a:cs typeface="+mn-cs"/>
        </a:defRPr>
      </a:lvl3pPr>
      <a:lvl4pPr marL="538123" indent="-177786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1" kern="1200">
          <a:solidFill>
            <a:schemeClr val="tx1"/>
          </a:solidFill>
          <a:latin typeface="+mn-lt"/>
          <a:ea typeface="+mn-ea"/>
          <a:cs typeface="+mn-cs"/>
        </a:defRPr>
      </a:lvl4pPr>
      <a:lvl5pPr marL="714322" indent="-176201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08" indent="-228584" algn="l" defTabSz="9143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8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6" algn="l" defTabSz="91433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mailto:clemente.juan@tum.de" TargetMode="External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svg"/><Relationship Id="rId18" Type="http://schemas.microsoft.com/office/2007/relationships/diagramDrawing" Target="../diagrams/drawing1.xml"/><Relationship Id="rId3" Type="http://schemas.openxmlformats.org/officeDocument/2006/relationships/image" Target="../media/image7.png"/><Relationship Id="rId7" Type="http://schemas.openxmlformats.org/officeDocument/2006/relationships/image" Target="../media/image11.svg"/><Relationship Id="rId12" Type="http://schemas.openxmlformats.org/officeDocument/2006/relationships/image" Target="../media/image16.png"/><Relationship Id="rId1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6" Type="http://schemas.openxmlformats.org/officeDocument/2006/relationships/diagramQuickStyle" Target="../diagrams/quickStyl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11" Type="http://schemas.openxmlformats.org/officeDocument/2006/relationships/image" Target="../media/image15.svg"/><Relationship Id="rId5" Type="http://schemas.openxmlformats.org/officeDocument/2006/relationships/image" Target="../media/image9.svg"/><Relationship Id="rId15" Type="http://schemas.openxmlformats.org/officeDocument/2006/relationships/diagramLayout" Target="../diagrams/layout1.xml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svg"/><Relationship Id="rId14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7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png"/><Relationship Id="rId11" Type="http://schemas.openxmlformats.org/officeDocument/2006/relationships/image" Target="../media/image23.svg"/><Relationship Id="rId5" Type="http://schemas.openxmlformats.org/officeDocument/2006/relationships/image" Target="../media/image13.svg"/><Relationship Id="rId10" Type="http://schemas.openxmlformats.org/officeDocument/2006/relationships/image" Target="../media/image22.png"/><Relationship Id="rId4" Type="http://schemas.openxmlformats.org/officeDocument/2006/relationships/image" Target="../media/image12.png"/><Relationship Id="rId9" Type="http://schemas.openxmlformats.org/officeDocument/2006/relationships/image" Target="../media/image21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8.png"/><Relationship Id="rId5" Type="http://schemas.openxmlformats.org/officeDocument/2006/relationships/image" Target="../media/image27.svg"/><Relationship Id="rId4" Type="http://schemas.openxmlformats.org/officeDocument/2006/relationships/image" Target="../media/image26.png"/><Relationship Id="rId9" Type="http://schemas.openxmlformats.org/officeDocument/2006/relationships/image" Target="../media/image31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13" Type="http://schemas.openxmlformats.org/officeDocument/2006/relationships/image" Target="../media/image16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13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.svg"/><Relationship Id="rId11" Type="http://schemas.openxmlformats.org/officeDocument/2006/relationships/image" Target="../media/image12.png"/><Relationship Id="rId5" Type="http://schemas.openxmlformats.org/officeDocument/2006/relationships/image" Target="../media/image20.png"/><Relationship Id="rId10" Type="http://schemas.openxmlformats.org/officeDocument/2006/relationships/image" Target="../media/image31.svg"/><Relationship Id="rId4" Type="http://schemas.openxmlformats.org/officeDocument/2006/relationships/image" Target="../media/image19.svg"/><Relationship Id="rId9" Type="http://schemas.openxmlformats.org/officeDocument/2006/relationships/image" Target="../media/image30.png"/><Relationship Id="rId14" Type="http://schemas.openxmlformats.org/officeDocument/2006/relationships/image" Target="../media/image17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4.emf"/><Relationship Id="rId4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7" Type="http://schemas.openxmlformats.org/officeDocument/2006/relationships/image" Target="../media/image38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7.emf"/><Relationship Id="rId5" Type="http://schemas.openxmlformats.org/officeDocument/2006/relationships/image" Target="../media/image36.emf"/><Relationship Id="rId4" Type="http://schemas.openxmlformats.org/officeDocument/2006/relationships/image" Target="../media/image3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C1DF256-5FBA-4B0F-A010-63BEC6FA2C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de-DE">
              <a:cs typeface="Arial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1DB5AF1-2D02-49A4-8609-DA4E3CDEEE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600" y="966906"/>
            <a:ext cx="11572799" cy="1641475"/>
          </a:xfrm>
        </p:spPr>
        <p:txBody>
          <a:bodyPr/>
          <a:lstStyle/>
          <a:p>
            <a:r>
              <a:rPr lang="en-US" dirty="0"/>
              <a:t>Autonomous Decision-Making for Large Satellite Constellations: </a:t>
            </a:r>
            <a:br>
              <a:rPr lang="en-US" dirty="0"/>
            </a:br>
            <a:r>
              <a:rPr lang="en-US" dirty="0"/>
              <a:t>a Multi-Agent Reinforcement Learning Approach to </a:t>
            </a:r>
            <a:br>
              <a:rPr lang="en-US" dirty="0"/>
            </a:br>
            <a:r>
              <a:rPr lang="en-US" dirty="0"/>
              <a:t>Space Situational Awareness </a:t>
            </a:r>
            <a:br>
              <a:rPr lang="en-US" dirty="0"/>
            </a:br>
            <a:r>
              <a:rPr lang="en-US" dirty="0"/>
              <a:t>in Partially Observable Dynamic Environments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00336F9-AD64-4E95-ABFF-4B8D685FF771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309599" y="4897810"/>
            <a:ext cx="11572799" cy="1752372"/>
          </a:xfrm>
        </p:spPr>
        <p:txBody>
          <a:bodyPr/>
          <a:lstStyle/>
          <a:p>
            <a:r>
              <a:rPr lang="de-DE" dirty="0"/>
              <a:t>Clemente J. Juan Oliver</a:t>
            </a:r>
          </a:p>
          <a:p>
            <a:r>
              <a:rPr lang="en-US" dirty="0"/>
              <a:t>11th European Conference for </a:t>
            </a:r>
            <a:r>
              <a:rPr lang="en-US" dirty="0" err="1"/>
              <a:t>AeroSpace</a:t>
            </a:r>
            <a:r>
              <a:rPr lang="en-US" dirty="0"/>
              <a:t> Sciences (EUCASS)</a:t>
            </a:r>
          </a:p>
          <a:p>
            <a:r>
              <a:rPr lang="de-DE" dirty="0"/>
              <a:t>Rome, 03.07.2025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95689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7829DB-4F23-36DE-8A22-3665CDCE03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B65BB69-C19F-AFA0-FEC0-AA2A2702885B}"/>
              </a:ext>
            </a:extLst>
          </p:cNvPr>
          <p:cNvSpPr/>
          <p:nvPr/>
        </p:nvSpPr>
        <p:spPr>
          <a:xfrm>
            <a:off x="724690" y="4166293"/>
            <a:ext cx="10777498" cy="2313708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31D838D-60CE-0A8B-ECAA-A1A204E06309}"/>
              </a:ext>
            </a:extLst>
          </p:cNvPr>
          <p:cNvSpPr/>
          <p:nvPr/>
        </p:nvSpPr>
        <p:spPr>
          <a:xfrm>
            <a:off x="827772" y="1853576"/>
            <a:ext cx="10472287" cy="2188272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pic>
        <p:nvPicPr>
          <p:cNvPr id="34" name="Imagen 4" descr="Diagrama&#10;&#10;Descripción generada automáticamente">
            <a:extLst>
              <a:ext uri="{FF2B5EF4-FFF2-40B4-BE49-F238E27FC236}">
                <a16:creationId xmlns:a16="http://schemas.microsoft.com/office/drawing/2014/main" id="{8149BCC2-8648-7A7B-DF76-E1233BFA0E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0950" y="2559140"/>
            <a:ext cx="1997594" cy="1303731"/>
          </a:xfrm>
          <a:prstGeom prst="rect">
            <a:avLst/>
          </a:prstGeom>
        </p:spPr>
      </p:pic>
      <p:pic>
        <p:nvPicPr>
          <p:cNvPr id="35" name="Imagen 6" descr="Diagrama&#10;&#10;Descripción generada automáticamente">
            <a:extLst>
              <a:ext uri="{FF2B5EF4-FFF2-40B4-BE49-F238E27FC236}">
                <a16:creationId xmlns:a16="http://schemas.microsoft.com/office/drawing/2014/main" id="{634A55F7-44E9-2666-7C5B-1AA1FFF0B7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908" y="2481841"/>
            <a:ext cx="1997595" cy="1411181"/>
          </a:xfrm>
          <a:prstGeom prst="rect">
            <a:avLst/>
          </a:prstGeom>
        </p:spPr>
      </p:pic>
      <p:pic>
        <p:nvPicPr>
          <p:cNvPr id="36" name="Imagen 14" descr="Diagrama&#10;&#10;Descripción generada automáticamente">
            <a:extLst>
              <a:ext uri="{FF2B5EF4-FFF2-40B4-BE49-F238E27FC236}">
                <a16:creationId xmlns:a16="http://schemas.microsoft.com/office/drawing/2014/main" id="{EBABD574-E4DE-8E84-B94D-17B36DF3BA5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1220" y="2481841"/>
            <a:ext cx="1920226" cy="1473210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CECCC533-5F81-764C-252B-08CF6BC8E15D}"/>
              </a:ext>
            </a:extLst>
          </p:cNvPr>
          <p:cNvSpPr txBox="1"/>
          <p:nvPr/>
        </p:nvSpPr>
        <p:spPr>
          <a:xfrm>
            <a:off x="1300169" y="1997208"/>
            <a:ext cx="15170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>
                <a:latin typeface="+mn-lt"/>
              </a:rPr>
              <a:t>Centralized</a:t>
            </a:r>
            <a:endParaRPr lang="en-DE" b="1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E408A23-E25D-2DDB-8EB5-8161F59E5DF3}"/>
              </a:ext>
            </a:extLst>
          </p:cNvPr>
          <p:cNvSpPr txBox="1"/>
          <p:nvPr/>
        </p:nvSpPr>
        <p:spPr>
          <a:xfrm>
            <a:off x="5000949" y="1898103"/>
            <a:ext cx="199759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b="1" dirty="0">
                <a:latin typeface="+mn-lt"/>
              </a:rPr>
              <a:t>Constrained Decentralized</a:t>
            </a:r>
            <a:endParaRPr lang="en-DE" b="1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A308983-5BB5-A6C6-F2C7-DD3619AEEFDE}"/>
              </a:ext>
            </a:extLst>
          </p:cNvPr>
          <p:cNvSpPr txBox="1"/>
          <p:nvPr/>
        </p:nvSpPr>
        <p:spPr>
          <a:xfrm>
            <a:off x="8980835" y="1863030"/>
            <a:ext cx="180109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b="1" dirty="0">
                <a:latin typeface="+mn-lt"/>
              </a:rPr>
              <a:t>Fully Decentralized</a:t>
            </a:r>
            <a:endParaRPr lang="en-DE" b="1" dirty="0"/>
          </a:p>
        </p:txBody>
      </p:sp>
      <p:sp>
        <p:nvSpPr>
          <p:cNvPr id="41" name="Title 40">
            <a:extLst>
              <a:ext uri="{FF2B5EF4-FFF2-40B4-BE49-F238E27FC236}">
                <a16:creationId xmlns:a16="http://schemas.microsoft.com/office/drawing/2014/main" id="{48D430EB-82A7-C220-8A9E-396DF8201B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604" y="994338"/>
            <a:ext cx="11572799" cy="820738"/>
          </a:xfrm>
        </p:spPr>
        <p:txBody>
          <a:bodyPr/>
          <a:lstStyle/>
          <a:p>
            <a:r>
              <a:rPr lang="en-US" dirty="0"/>
              <a:t>Deployed in </a:t>
            </a:r>
            <a:r>
              <a:rPr lang="en-US" dirty="0">
                <a:solidFill>
                  <a:schemeClr val="bg2"/>
                </a:solidFill>
              </a:rPr>
              <a:t>3 Different Coordination Topologies </a:t>
            </a:r>
            <a:br>
              <a:rPr lang="en-US" dirty="0"/>
            </a:br>
            <a:r>
              <a:rPr lang="en-US" dirty="0">
                <a:solidFill>
                  <a:schemeClr val="accent5"/>
                </a:solidFill>
              </a:rPr>
              <a:t>against 2 Centralized Exact Methods </a:t>
            </a:r>
            <a:r>
              <a:rPr lang="en-US" dirty="0"/>
              <a:t>with Perfect Information</a:t>
            </a:r>
            <a:endParaRPr lang="en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EEE7250-AD95-6AF4-A2B6-E49DD84020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de-DE">
              <a:cs typeface="Arial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2FD1D6C-53E3-B328-D960-496E641443E1}"/>
              </a:ext>
            </a:extLst>
          </p:cNvPr>
          <p:cNvSpPr txBox="1"/>
          <p:nvPr/>
        </p:nvSpPr>
        <p:spPr>
          <a:xfrm>
            <a:off x="724690" y="4345269"/>
            <a:ext cx="5172386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>
                <a:latin typeface="+mn-lt"/>
              </a:rPr>
              <a:t>Rule-Based Method</a:t>
            </a:r>
          </a:p>
          <a:p>
            <a:r>
              <a:rPr lang="en-GB" dirty="0"/>
              <a:t>Hierarchical strategy: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800" dirty="0">
                <a:latin typeface="+mn-lt"/>
              </a:rPr>
              <a:t>Prioritizes energy conservation if battery is under 30%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Encourages communication when storage is over 70%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+mn-lt"/>
              </a:rPr>
              <a:t>Observes whenever a target is in sigh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468119B-0192-3BE7-BD8D-ABF012C7431E}"/>
              </a:ext>
            </a:extLst>
          </p:cNvPr>
          <p:cNvSpPr txBox="1"/>
          <p:nvPr/>
        </p:nvSpPr>
        <p:spPr>
          <a:xfrm>
            <a:off x="6201876" y="4345269"/>
            <a:ext cx="547718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>
                <a:latin typeface="+mn-lt"/>
              </a:rPr>
              <a:t>Mixed Integer Programming (MI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Optimization probl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ximizes expected utility while respecting resource constrai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implified linear heuristics for computing each action utility</a:t>
            </a:r>
          </a:p>
        </p:txBody>
      </p:sp>
    </p:spTree>
    <p:extLst>
      <p:ext uri="{BB962C8B-B14F-4D97-AF65-F5344CB8AC3E}">
        <p14:creationId xmlns:p14="http://schemas.microsoft.com/office/powerpoint/2010/main" val="11263110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C64F22-A650-A4BE-DD58-9C8BD20A27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8D8E26EF-D3EA-3B97-B635-6376E91258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604" y="994338"/>
            <a:ext cx="5526445" cy="820738"/>
          </a:xfrm>
        </p:spPr>
        <p:txBody>
          <a:bodyPr/>
          <a:lstStyle/>
          <a:p>
            <a:r>
              <a:rPr lang="de-DE" sz="2800" dirty="0"/>
              <a:t>Mission </a:t>
            </a:r>
            <a:r>
              <a:rPr lang="de-DE" sz="2800" dirty="0" err="1"/>
              <a:t>Accomplishment</a:t>
            </a:r>
            <a:r>
              <a:rPr lang="de-DE" sz="2800" dirty="0"/>
              <a:t> </a:t>
            </a:r>
            <a:r>
              <a:rPr lang="de-DE" sz="2800" dirty="0" err="1"/>
              <a:t>Results</a:t>
            </a:r>
            <a:endParaRPr lang="de-DE" sz="28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F3E7D24-C63C-4D8A-2DE6-A5655B9AB5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de-DE">
              <a:cs typeface="Arial" charset="0"/>
            </a:endParaRPr>
          </a:p>
        </p:txBody>
      </p:sp>
      <p:pic>
        <p:nvPicPr>
          <p:cNvPr id="8" name="Content Placeholder 7" descr="A screenshot of a graph&#10;&#10;AI-generated content may be incorrect.">
            <a:extLst>
              <a:ext uri="{FF2B5EF4-FFF2-40B4-BE49-F238E27FC236}">
                <a16:creationId xmlns:a16="http://schemas.microsoft.com/office/drawing/2014/main" id="{93B1D4F6-FB6B-B7A8-7C8B-9FDC096266B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6049" y="869595"/>
            <a:ext cx="5406258" cy="5792967"/>
          </a:xfr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9472998-C420-F557-F206-6D9EB6CDD2C1}"/>
              </a:ext>
            </a:extLst>
          </p:cNvPr>
          <p:cNvSpPr txBox="1"/>
          <p:nvPr/>
        </p:nvSpPr>
        <p:spPr>
          <a:xfrm>
            <a:off x="491836" y="2018915"/>
            <a:ext cx="4849090" cy="38554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Rule-Based and MIP benchmarks have perfect information access and centralized execution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Centralized coordination obtains better results than the decentralized approaches 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RL agents develop fundamental coordination strategies that are robust across different network topologies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Negative cases show more stability </a:t>
            </a:r>
            <a:r>
              <a:rPr lang="en-US" dirty="0" err="1"/>
              <a:t>wrt</a:t>
            </a:r>
            <a:r>
              <a:rPr lang="en-US" dirty="0"/>
              <a:t> </a:t>
            </a:r>
            <a:r>
              <a:rPr lang="el-GR" dirty="0"/>
              <a:t>α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114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0611F7-D019-BBA5-2BC6-0141B662F1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26BACFE-EE1A-F266-ABC6-810A070837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604" y="994338"/>
            <a:ext cx="11572799" cy="820738"/>
          </a:xfrm>
        </p:spPr>
        <p:txBody>
          <a:bodyPr/>
          <a:lstStyle/>
          <a:p>
            <a:r>
              <a:rPr lang="de-DE" sz="2800" dirty="0" err="1"/>
              <a:t>Remaining</a:t>
            </a:r>
            <a:r>
              <a:rPr lang="de-DE" sz="2800" dirty="0"/>
              <a:t> Resources</a:t>
            </a:r>
            <a:br>
              <a:rPr lang="de-DE" sz="2800" dirty="0"/>
            </a:br>
            <a:r>
              <a:rPr lang="de-DE" sz="2800" dirty="0"/>
              <a:t>After Simul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9A3AB29-CFB1-C23E-9EEF-BB18E0575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de-DE">
              <a:cs typeface="Arial" charset="0"/>
            </a:endParaRPr>
          </a:p>
        </p:txBody>
      </p:sp>
      <p:pic>
        <p:nvPicPr>
          <p:cNvPr id="5" name="Picture 4" descr="A screenshot of a graph&#10;&#10;AI-generated content may be incorrect.">
            <a:extLst>
              <a:ext uri="{FF2B5EF4-FFF2-40B4-BE49-F238E27FC236}">
                <a16:creationId xmlns:a16="http://schemas.microsoft.com/office/drawing/2014/main" id="{6DC8DCAD-F4FA-559A-0F52-20BA05E55B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8156" y="701449"/>
            <a:ext cx="5461682" cy="585235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824BC87-2998-3970-B94F-F23529DADD25}"/>
              </a:ext>
            </a:extLst>
          </p:cNvPr>
          <p:cNvSpPr txBox="1"/>
          <p:nvPr/>
        </p:nvSpPr>
        <p:spPr>
          <a:xfrm>
            <a:off x="808368" y="2907038"/>
            <a:ext cx="4622614" cy="19607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RL approaches achieve comparable or slightly superior resource conservation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Stability of resource levels across different α scaling factors indicates effective balance learning</a:t>
            </a:r>
          </a:p>
        </p:txBody>
      </p:sp>
    </p:spTree>
    <p:extLst>
      <p:ext uri="{BB962C8B-B14F-4D97-AF65-F5344CB8AC3E}">
        <p14:creationId xmlns:p14="http://schemas.microsoft.com/office/powerpoint/2010/main" val="7035604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3A7F69-B02D-5382-3296-110B3C6AB8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8CDAC0E-F640-0FAF-EAF3-AC61D46F1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604" y="994338"/>
            <a:ext cx="11572799" cy="820738"/>
          </a:xfrm>
        </p:spPr>
        <p:txBody>
          <a:bodyPr/>
          <a:lstStyle/>
          <a:p>
            <a:r>
              <a:rPr lang="de-DE" sz="2800" dirty="0"/>
              <a:t>Operating Modes </a:t>
            </a:r>
            <a:br>
              <a:rPr lang="de-DE" sz="2800" dirty="0"/>
            </a:br>
            <a:r>
              <a:rPr lang="de-DE" sz="2800" dirty="0" err="1"/>
              <a:t>during</a:t>
            </a:r>
            <a:r>
              <a:rPr lang="de-DE" sz="2800" dirty="0"/>
              <a:t> </a:t>
            </a:r>
            <a:r>
              <a:rPr lang="de-DE" sz="2800" dirty="0" err="1"/>
              <a:t>the</a:t>
            </a:r>
            <a:r>
              <a:rPr lang="de-DE" sz="2800" dirty="0"/>
              <a:t> Miss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33DC9C9-71B0-371F-BF2F-E986BCE93E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de-DE">
              <a:cs typeface="Arial" charset="0"/>
            </a:endParaRPr>
          </a:p>
        </p:txBody>
      </p:sp>
      <p:pic>
        <p:nvPicPr>
          <p:cNvPr id="5" name="Picture 4" descr="A screenshot of a graph&#10;&#10;AI-generated content may be incorrect.">
            <a:extLst>
              <a:ext uri="{FF2B5EF4-FFF2-40B4-BE49-F238E27FC236}">
                <a16:creationId xmlns:a16="http://schemas.microsoft.com/office/drawing/2014/main" id="{A7076C6F-C712-1020-32ED-EF1B30FE7C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0200" y="349811"/>
            <a:ext cx="5732060" cy="615837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CAF465B-6B6A-77D6-329B-F98D7B341391}"/>
              </a:ext>
            </a:extLst>
          </p:cNvPr>
          <p:cNvSpPr txBox="1"/>
          <p:nvPr/>
        </p:nvSpPr>
        <p:spPr>
          <a:xfrm>
            <a:off x="256309" y="2574528"/>
            <a:ext cx="5153891" cy="2592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Most decentralized approaches remain in idle mode more than 95% of the mission time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More balanced performance in constrained and centralized scenarios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Ability to maintain mission-critical activities under communication limitations</a:t>
            </a:r>
          </a:p>
        </p:txBody>
      </p:sp>
    </p:spTree>
    <p:extLst>
      <p:ext uri="{BB962C8B-B14F-4D97-AF65-F5344CB8AC3E}">
        <p14:creationId xmlns:p14="http://schemas.microsoft.com/office/powerpoint/2010/main" val="34023097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0A56C5-4897-33F0-20F8-08A16C4DDF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Nvidia Super Developer Kit Jetson Orin Nano 8 GB 6 x 1.5 GHz">
            <a:extLst>
              <a:ext uri="{FF2B5EF4-FFF2-40B4-BE49-F238E27FC236}">
                <a16:creationId xmlns:a16="http://schemas.microsoft.com/office/drawing/2014/main" id="{2A3784EE-1587-E629-1F3C-2ECB1453A7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4141" y="4366940"/>
            <a:ext cx="2214660" cy="2214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A5559D95-DF29-6518-031D-B05A30C51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604" y="994338"/>
            <a:ext cx="11572799" cy="1231106"/>
          </a:xfrm>
        </p:spPr>
        <p:txBody>
          <a:bodyPr/>
          <a:lstStyle/>
          <a:p>
            <a:r>
              <a:rPr lang="en-US" sz="2800"/>
              <a:t>3 Key </a:t>
            </a:r>
            <a:r>
              <a:rPr lang="en-US" sz="2800" dirty="0"/>
              <a:t>Takeaways</a:t>
            </a:r>
            <a:br>
              <a:rPr lang="en-US" sz="2800" dirty="0"/>
            </a:br>
            <a:br>
              <a:rPr lang="en-US" sz="2800" dirty="0"/>
            </a:br>
            <a:r>
              <a:rPr lang="en-US" sz="2800" dirty="0"/>
              <a:t>Multi-Agent RL policies in constellation management…</a:t>
            </a:r>
            <a:endParaRPr lang="de-DE" sz="28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03D2E15-CE7D-6D0A-22C5-74CCD8BD0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de-DE">
              <a:cs typeface="Arial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409477-C0BE-AF37-08E5-E5234A0541F6}"/>
              </a:ext>
            </a:extLst>
          </p:cNvPr>
          <p:cNvSpPr txBox="1"/>
          <p:nvPr/>
        </p:nvSpPr>
        <p:spPr>
          <a:xfrm>
            <a:off x="1005828" y="2410098"/>
            <a:ext cx="10180344" cy="2583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learned fundamental coordination strategies that are robust across different network topologies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effectively balanced mission execution and resource preservation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can be executed onboard in microsecond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ACA0372-8DAE-055D-6922-096DB4C3CFF8}"/>
              </a:ext>
            </a:extLst>
          </p:cNvPr>
          <p:cNvSpPr txBox="1"/>
          <p:nvPr/>
        </p:nvSpPr>
        <p:spPr>
          <a:xfrm>
            <a:off x="8920480" y="5947491"/>
            <a:ext cx="2580751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>
                <a:latin typeface="+mn-lt"/>
              </a:rPr>
              <a:t>NVIDIA Jetson Orin Nano </a:t>
            </a:r>
          </a:p>
        </p:txBody>
      </p:sp>
    </p:spTree>
    <p:extLst>
      <p:ext uri="{BB962C8B-B14F-4D97-AF65-F5344CB8AC3E}">
        <p14:creationId xmlns:p14="http://schemas.microsoft.com/office/powerpoint/2010/main" val="33909166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AB21497-6404-D3A8-CD4A-BE3B022BC7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5</a:t>
            </a:fld>
            <a:endParaRPr lang="de-DE">
              <a:cs typeface="Arial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D020BE6-0081-9B13-D2D8-CA8EA294F5A1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309601" y="3095000"/>
            <a:ext cx="11572799" cy="3385000"/>
          </a:xfrm>
        </p:spPr>
        <p:txBody>
          <a:bodyPr/>
          <a:lstStyle/>
          <a:p>
            <a:r>
              <a:rPr lang="en-GB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emente.juan@tum.de</a:t>
            </a:r>
            <a:endParaRPr lang="en-GB" dirty="0"/>
          </a:p>
          <a:p>
            <a:r>
              <a:rPr lang="en-GB" dirty="0"/>
              <a:t>Clemente J. Juan Oliver, MSc.</a:t>
            </a:r>
          </a:p>
          <a:p>
            <a:r>
              <a:rPr lang="en-GB" dirty="0"/>
              <a:t>Chair of Spacecraft Systems </a:t>
            </a:r>
          </a:p>
          <a:p>
            <a:r>
              <a:rPr lang="en-GB" dirty="0"/>
              <a:t>School of Engineering and Design</a:t>
            </a:r>
          </a:p>
          <a:p>
            <a:r>
              <a:rPr lang="en-GB" dirty="0"/>
              <a:t>Technical University of Munich</a:t>
            </a:r>
          </a:p>
          <a:p>
            <a:endParaRPr lang="en-GB" dirty="0"/>
          </a:p>
          <a:p>
            <a:r>
              <a:rPr lang="en-US" dirty="0"/>
              <a:t>This work was supported by the AUTOPS project, within the Bavarian Joint Research Program</a:t>
            </a:r>
          </a:p>
          <a:p>
            <a:r>
              <a:rPr lang="en-US" dirty="0"/>
              <a:t>of the </a:t>
            </a:r>
            <a:r>
              <a:rPr lang="en-US" dirty="0" err="1"/>
              <a:t>StMWi</a:t>
            </a:r>
            <a:r>
              <a:rPr lang="en-US" dirty="0"/>
              <a:t> (</a:t>
            </a:r>
            <a:r>
              <a:rPr lang="en-US" dirty="0" err="1"/>
              <a:t>BayVFP</a:t>
            </a:r>
            <a:r>
              <a:rPr lang="en-US" dirty="0"/>
              <a:t>), funding number MRF-2307-0004.</a:t>
            </a:r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8F76F68-DD30-FD2D-98BA-A51C277289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4479" y="1905819"/>
            <a:ext cx="4963041" cy="410369"/>
          </a:xfrm>
        </p:spPr>
        <p:txBody>
          <a:bodyPr/>
          <a:lstStyle/>
          <a:p>
            <a:r>
              <a:rPr lang="en-GB" dirty="0"/>
              <a:t>Thank you for your attention!</a:t>
            </a:r>
          </a:p>
        </p:txBody>
      </p:sp>
    </p:spTree>
    <p:extLst>
      <p:ext uri="{BB962C8B-B14F-4D97-AF65-F5344CB8AC3E}">
        <p14:creationId xmlns:p14="http://schemas.microsoft.com/office/powerpoint/2010/main" val="27533392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29D670-529C-B8B0-2CFB-5D77FBEF83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8D85D0-5F88-7B7E-499E-F1DCC32A8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endParaRPr lang="de-DE">
              <a:cs typeface="Arial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687FD0E-BFCB-9C09-0560-AFFFB5CBB6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603" y="994339"/>
            <a:ext cx="11799269" cy="1231106"/>
          </a:xfrm>
        </p:spPr>
        <p:txBody>
          <a:bodyPr/>
          <a:lstStyle/>
          <a:p>
            <a:r>
              <a:rPr lang="en-US" sz="3200" dirty="0"/>
              <a:t>How do we integrate this as a Reinforcement Learning Problem?</a:t>
            </a:r>
            <a:br>
              <a:rPr lang="en-US" sz="3200" dirty="0"/>
            </a:br>
            <a:br>
              <a:rPr lang="en-US" sz="3200" dirty="0"/>
            </a:br>
            <a:r>
              <a:rPr lang="en-US" sz="3200" dirty="0"/>
              <a:t>Decentralized Partially Observable Markov Decision Process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257A1266-4909-5F92-437A-BD5B8B532747}"/>
                  </a:ext>
                </a:extLst>
              </p:cNvPr>
              <p:cNvSpPr txBox="1"/>
              <p:nvPr/>
            </p:nvSpPr>
            <p:spPr>
              <a:xfrm>
                <a:off x="824344" y="2323706"/>
                <a:ext cx="10425547" cy="36476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sz="1600" dirty="0"/>
                  <a:t>The problem can be mathematically formulated as a Dec-POMDP:</a:t>
                </a:r>
                <a:endParaRPr lang="en-US" sz="1600" dirty="0">
                  <a:latin typeface="+mn-lt"/>
                </a:endParaRP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𝑁</m:t>
                    </m:r>
                  </m:oMath>
                </a14:m>
                <a:r>
                  <a:rPr lang="en-US" sz="1600" dirty="0">
                    <a:latin typeface="+mn-lt"/>
                  </a:rPr>
                  <a:t>: number of agents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US" sz="1600" dirty="0"/>
                  <a:t>: number of target objects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𝑆</m:t>
                    </m:r>
                  </m:oMath>
                </a14:m>
                <a:r>
                  <a:rPr lang="en-US" sz="1600" dirty="0">
                    <a:latin typeface="+mn-lt"/>
                  </a:rPr>
                  <a:t>: set of all possible states of the environment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{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</m:e>
                      <m:sub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r>
                  <a:rPr lang="en-US" sz="1600" dirty="0">
                    <a:latin typeface="+mn-lt"/>
                  </a:rPr>
                  <a:t> : set of actions available to each agent </a:t>
                </a:r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endParaRPr lang="en-US" sz="1600" i="1" dirty="0">
                  <a:latin typeface="+mn-lt"/>
                </a:endParaRP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{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r>
                  <a:rPr lang="en-US" sz="1600" dirty="0">
                    <a:latin typeface="+mn-lt"/>
                  </a:rPr>
                  <a:t>: reward function for each agent 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endParaRPr lang="en-US" sz="1600" i="1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{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𝑂</m:t>
                        </m:r>
                      </m:e>
                      <m:sub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n-US" sz="1600" i="1"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r>
                  <a:rPr lang="en-US" sz="1600" dirty="0"/>
                  <a:t>: observations available to each agent 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endParaRPr lang="en-US" sz="1600" i="1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𝑃</m:t>
                    </m:r>
                  </m:oMath>
                </a14:m>
                <a:r>
                  <a:rPr lang="en-US" sz="1600" dirty="0">
                    <a:latin typeface="+mn-lt"/>
                  </a:rPr>
                  <a:t>: transition </a:t>
                </a:r>
                <a:r>
                  <a:rPr lang="en-US" sz="1600" dirty="0"/>
                  <a:t>probability function, describing the probability of moving from one state to another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𝛾</m:t>
                    </m:r>
                  </m:oMath>
                </a14:m>
                <a:r>
                  <a:rPr lang="en-US" sz="1600" dirty="0"/>
                  <a:t>: discount factor, reflecting the importance of future rewards compared to immediate one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𝑍</m:t>
                    </m:r>
                  </m:oMath>
                </a14:m>
                <a:r>
                  <a:rPr lang="en-US" sz="1600" dirty="0"/>
                  <a:t>: observation probability function, detailing the likelihood of receiving a particular observation</a:t>
                </a:r>
                <a:endParaRPr lang="en-DE" sz="1600" i="1" dirty="0" err="1">
                  <a:latin typeface="+mn-lt"/>
                </a:endParaRPr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257A1266-4909-5F92-437A-BD5B8B5327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4344" y="2323706"/>
                <a:ext cx="10425547" cy="3647665"/>
              </a:xfrm>
              <a:prstGeom prst="rect">
                <a:avLst/>
              </a:prstGeom>
              <a:blipFill>
                <a:blip r:embed="rId3"/>
                <a:stretch>
                  <a:fillRect l="-1170" b="-2504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952969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B215D5-48F5-9E27-71EC-DE30C14286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8F1DB4-ADE2-DDEB-A03C-B552E0F96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de-DE">
              <a:cs typeface="Arial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37AC43A-4E77-F67F-2DD1-2BC97B299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605" y="994338"/>
            <a:ext cx="11572794" cy="410369"/>
          </a:xfrm>
        </p:spPr>
        <p:txBody>
          <a:bodyPr/>
          <a:lstStyle/>
          <a:p>
            <a:r>
              <a:rPr lang="en-US" dirty="0"/>
              <a:t>Increasingly crowded orbits</a:t>
            </a:r>
            <a:endParaRPr lang="en-DE" dirty="0"/>
          </a:p>
        </p:txBody>
      </p:sp>
      <p:pic>
        <p:nvPicPr>
          <p:cNvPr id="1078" name="Picture 8" descr="Earth PNG Image - PurePNG | Free transparent CC0 PNG Image Library">
            <a:extLst>
              <a:ext uri="{FF2B5EF4-FFF2-40B4-BE49-F238E27FC236}">
                <a16:creationId xmlns:a16="http://schemas.microsoft.com/office/drawing/2014/main" id="{10603C86-66C4-631C-3110-B3FC228C9A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1601" y="3568669"/>
            <a:ext cx="1465316" cy="1465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FE5CA593-BD03-978C-2FE0-F4959CBF00C0}"/>
              </a:ext>
            </a:extLst>
          </p:cNvPr>
          <p:cNvGrpSpPr/>
          <p:nvPr/>
        </p:nvGrpSpPr>
        <p:grpSpPr>
          <a:xfrm>
            <a:off x="546265" y="2572575"/>
            <a:ext cx="4628041" cy="3484004"/>
            <a:chOff x="7991393" y="2566024"/>
            <a:chExt cx="4628041" cy="3484004"/>
          </a:xfrm>
        </p:grpSpPr>
        <p:sp>
          <p:nvSpPr>
            <p:cNvPr id="1079" name="Oval 1078">
              <a:extLst>
                <a:ext uri="{FF2B5EF4-FFF2-40B4-BE49-F238E27FC236}">
                  <a16:creationId xmlns:a16="http://schemas.microsoft.com/office/drawing/2014/main" id="{B3BE055F-D65E-F179-CEDF-DB9FBB353921}"/>
                </a:ext>
              </a:extLst>
            </p:cNvPr>
            <p:cNvSpPr/>
            <p:nvPr/>
          </p:nvSpPr>
          <p:spPr>
            <a:xfrm rot="19340021">
              <a:off x="7991393" y="3285905"/>
              <a:ext cx="4628041" cy="2130631"/>
            </a:xfrm>
            <a:prstGeom prst="ellipse">
              <a:avLst/>
            </a:prstGeom>
            <a:noFill/>
            <a:ln>
              <a:solidFill>
                <a:schemeClr val="tx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DE" dirty="0"/>
            </a:p>
          </p:txBody>
        </p:sp>
        <p:grpSp>
          <p:nvGrpSpPr>
            <p:cNvPr id="1080" name="Group 1079">
              <a:extLst>
                <a:ext uri="{FF2B5EF4-FFF2-40B4-BE49-F238E27FC236}">
                  <a16:creationId xmlns:a16="http://schemas.microsoft.com/office/drawing/2014/main" id="{8CF60A21-3F6F-4AE4-46E3-A938E4E5D63E}"/>
                </a:ext>
              </a:extLst>
            </p:cNvPr>
            <p:cNvGrpSpPr/>
            <p:nvPr/>
          </p:nvGrpSpPr>
          <p:grpSpPr>
            <a:xfrm>
              <a:off x="11794028" y="2566024"/>
              <a:ext cx="438078" cy="410554"/>
              <a:chOff x="3133607" y="5223866"/>
              <a:chExt cx="946680" cy="914400"/>
            </a:xfrm>
            <a:solidFill>
              <a:schemeClr val="accent1"/>
            </a:solidFill>
          </p:grpSpPr>
          <p:pic>
            <p:nvPicPr>
              <p:cNvPr id="2058" name="Graphic 2057" descr="Satellite with solid fill">
                <a:extLst>
                  <a:ext uri="{FF2B5EF4-FFF2-40B4-BE49-F238E27FC236}">
                    <a16:creationId xmlns:a16="http://schemas.microsoft.com/office/drawing/2014/main" id="{0687929C-A893-4457-47EE-BCA013BA11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3133607" y="5223866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2059" name="Graphic 2058" descr="Camera with solid fill">
                <a:extLst>
                  <a:ext uri="{FF2B5EF4-FFF2-40B4-BE49-F238E27FC236}">
                    <a16:creationId xmlns:a16="http://schemas.microsoft.com/office/drawing/2014/main" id="{65894C62-3BB7-C983-FFCC-A4B656239D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687348" y="5241778"/>
                <a:ext cx="392939" cy="392939"/>
              </a:xfrm>
              <a:prstGeom prst="rect">
                <a:avLst/>
              </a:prstGeom>
            </p:spPr>
          </p:pic>
        </p:grpSp>
        <p:grpSp>
          <p:nvGrpSpPr>
            <p:cNvPr id="1086" name="Group 1085">
              <a:extLst>
                <a:ext uri="{FF2B5EF4-FFF2-40B4-BE49-F238E27FC236}">
                  <a16:creationId xmlns:a16="http://schemas.microsoft.com/office/drawing/2014/main" id="{BB5AE3AC-8AE3-2AD6-551A-9500473E2BBE}"/>
                </a:ext>
              </a:extLst>
            </p:cNvPr>
            <p:cNvGrpSpPr/>
            <p:nvPr/>
          </p:nvGrpSpPr>
          <p:grpSpPr>
            <a:xfrm>
              <a:off x="10735208" y="4967751"/>
              <a:ext cx="438078" cy="410554"/>
              <a:chOff x="3133607" y="5223866"/>
              <a:chExt cx="946680" cy="914400"/>
            </a:xfrm>
            <a:solidFill>
              <a:schemeClr val="accent1"/>
            </a:solidFill>
          </p:grpSpPr>
          <p:pic>
            <p:nvPicPr>
              <p:cNvPr id="2055" name="Graphic 2054" descr="Satellite with solid fill">
                <a:extLst>
                  <a:ext uri="{FF2B5EF4-FFF2-40B4-BE49-F238E27FC236}">
                    <a16:creationId xmlns:a16="http://schemas.microsoft.com/office/drawing/2014/main" id="{562E5C70-DA67-539A-2394-81B250A9EF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3133607" y="5223866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2057" name="Graphic 2056" descr="Camera with solid fill">
                <a:extLst>
                  <a:ext uri="{FF2B5EF4-FFF2-40B4-BE49-F238E27FC236}">
                    <a16:creationId xmlns:a16="http://schemas.microsoft.com/office/drawing/2014/main" id="{2DE5A47F-28ED-1FCF-3B96-F1DA7F42B4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687348" y="5241778"/>
                <a:ext cx="392939" cy="392939"/>
              </a:xfrm>
              <a:prstGeom prst="rect">
                <a:avLst/>
              </a:prstGeom>
            </p:spPr>
          </p:pic>
        </p:grpSp>
        <p:grpSp>
          <p:nvGrpSpPr>
            <p:cNvPr id="1087" name="Group 1086">
              <a:extLst>
                <a:ext uri="{FF2B5EF4-FFF2-40B4-BE49-F238E27FC236}">
                  <a16:creationId xmlns:a16="http://schemas.microsoft.com/office/drawing/2014/main" id="{F680E262-601D-1F6F-E8D4-61F64E0232F2}"/>
                </a:ext>
              </a:extLst>
            </p:cNvPr>
            <p:cNvGrpSpPr/>
            <p:nvPr/>
          </p:nvGrpSpPr>
          <p:grpSpPr>
            <a:xfrm>
              <a:off x="9575507" y="3158473"/>
              <a:ext cx="438078" cy="410554"/>
              <a:chOff x="3133607" y="5223866"/>
              <a:chExt cx="946680" cy="914400"/>
            </a:xfrm>
            <a:solidFill>
              <a:schemeClr val="accent1"/>
            </a:solidFill>
          </p:grpSpPr>
          <p:pic>
            <p:nvPicPr>
              <p:cNvPr id="2053" name="Graphic 2052" descr="Satellite with solid fill">
                <a:extLst>
                  <a:ext uri="{FF2B5EF4-FFF2-40B4-BE49-F238E27FC236}">
                    <a16:creationId xmlns:a16="http://schemas.microsoft.com/office/drawing/2014/main" id="{B73682E8-B650-08D9-F109-EC1FD8A1E1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3133607" y="5223866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2054" name="Graphic 2053" descr="Camera with solid fill">
                <a:extLst>
                  <a:ext uri="{FF2B5EF4-FFF2-40B4-BE49-F238E27FC236}">
                    <a16:creationId xmlns:a16="http://schemas.microsoft.com/office/drawing/2014/main" id="{4963CF6E-879E-C4DB-DCDF-95716A2FB7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687348" y="5241778"/>
                <a:ext cx="392939" cy="392939"/>
              </a:xfrm>
              <a:prstGeom prst="rect">
                <a:avLst/>
              </a:prstGeom>
            </p:spPr>
          </p:pic>
        </p:grpSp>
        <p:grpSp>
          <p:nvGrpSpPr>
            <p:cNvPr id="2048" name="Group 2047">
              <a:extLst>
                <a:ext uri="{FF2B5EF4-FFF2-40B4-BE49-F238E27FC236}">
                  <a16:creationId xmlns:a16="http://schemas.microsoft.com/office/drawing/2014/main" id="{7885C101-689D-BC53-FD3B-4772D6669CFF}"/>
                </a:ext>
              </a:extLst>
            </p:cNvPr>
            <p:cNvGrpSpPr/>
            <p:nvPr/>
          </p:nvGrpSpPr>
          <p:grpSpPr>
            <a:xfrm>
              <a:off x="8310257" y="5639474"/>
              <a:ext cx="438078" cy="410554"/>
              <a:chOff x="3133607" y="5223866"/>
              <a:chExt cx="946680" cy="914400"/>
            </a:xfrm>
            <a:solidFill>
              <a:schemeClr val="accent1"/>
            </a:solidFill>
          </p:grpSpPr>
          <p:pic>
            <p:nvPicPr>
              <p:cNvPr id="2051" name="Graphic 2050" descr="Satellite with solid fill">
                <a:extLst>
                  <a:ext uri="{FF2B5EF4-FFF2-40B4-BE49-F238E27FC236}">
                    <a16:creationId xmlns:a16="http://schemas.microsoft.com/office/drawing/2014/main" id="{5C7F85AC-8BB5-7438-6DD5-0336BA3507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3133607" y="5223866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2052" name="Graphic 2051" descr="Camera with solid fill">
                <a:extLst>
                  <a:ext uri="{FF2B5EF4-FFF2-40B4-BE49-F238E27FC236}">
                    <a16:creationId xmlns:a16="http://schemas.microsoft.com/office/drawing/2014/main" id="{D1488BE3-966E-79FD-3202-AAD61BB011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687348" y="5241778"/>
                <a:ext cx="392939" cy="392939"/>
              </a:xfrm>
              <a:prstGeom prst="rect">
                <a:avLst/>
              </a:prstGeom>
            </p:spPr>
          </p:pic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02859B3-179F-3CE1-AE08-91AAE38EFE3C}"/>
              </a:ext>
            </a:extLst>
          </p:cNvPr>
          <p:cNvGrpSpPr/>
          <p:nvPr/>
        </p:nvGrpSpPr>
        <p:grpSpPr>
          <a:xfrm>
            <a:off x="742668" y="2627908"/>
            <a:ext cx="4628041" cy="3428671"/>
            <a:chOff x="4361419" y="1069385"/>
            <a:chExt cx="4628041" cy="3428671"/>
          </a:xfrm>
        </p:grpSpPr>
        <p:pic>
          <p:nvPicPr>
            <p:cNvPr id="1081" name="Graphic 1080" descr="Satellite with solid fill">
              <a:extLst>
                <a:ext uri="{FF2B5EF4-FFF2-40B4-BE49-F238E27FC236}">
                  <a16:creationId xmlns:a16="http://schemas.microsoft.com/office/drawing/2014/main" id="{AAF7F5A0-E0FD-2FD0-F2C2-DEA3E89ED37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711837" y="4039440"/>
              <a:ext cx="458616" cy="458616"/>
            </a:xfrm>
            <a:prstGeom prst="rect">
              <a:avLst/>
            </a:prstGeom>
          </p:spPr>
        </p:pic>
        <p:pic>
          <p:nvPicPr>
            <p:cNvPr id="1082" name="Graphic 1081" descr="Satellite with solid fill">
              <a:extLst>
                <a:ext uri="{FF2B5EF4-FFF2-40B4-BE49-F238E27FC236}">
                  <a16:creationId xmlns:a16="http://schemas.microsoft.com/office/drawing/2014/main" id="{9C0044DD-F4A6-6909-4564-FF60D81D35D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125667" y="3077474"/>
              <a:ext cx="458616" cy="458616"/>
            </a:xfrm>
            <a:prstGeom prst="rect">
              <a:avLst/>
            </a:prstGeom>
          </p:spPr>
        </p:pic>
        <p:pic>
          <p:nvPicPr>
            <p:cNvPr id="1084" name="Graphic 1083" descr="Satellite with solid fill">
              <a:extLst>
                <a:ext uri="{FF2B5EF4-FFF2-40B4-BE49-F238E27FC236}">
                  <a16:creationId xmlns:a16="http://schemas.microsoft.com/office/drawing/2014/main" id="{7FD81EF1-E2C1-02EA-196C-478D986EC6A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158897" y="1069385"/>
              <a:ext cx="458616" cy="458616"/>
            </a:xfrm>
            <a:prstGeom prst="rect">
              <a:avLst/>
            </a:prstGeom>
          </p:spPr>
        </p:pic>
        <p:pic>
          <p:nvPicPr>
            <p:cNvPr id="2050" name="Graphic 2049" descr="Satellite with solid fill">
              <a:extLst>
                <a:ext uri="{FF2B5EF4-FFF2-40B4-BE49-F238E27FC236}">
                  <a16:creationId xmlns:a16="http://schemas.microsoft.com/office/drawing/2014/main" id="{819158BF-3142-A626-8408-F41670554A9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727130" y="2115450"/>
              <a:ext cx="458616" cy="458616"/>
            </a:xfrm>
            <a:prstGeom prst="rect">
              <a:avLst/>
            </a:prstGeom>
          </p:spPr>
        </p:pic>
        <p:sp>
          <p:nvSpPr>
            <p:cNvPr id="2061" name="Oval 2060">
              <a:extLst>
                <a:ext uri="{FF2B5EF4-FFF2-40B4-BE49-F238E27FC236}">
                  <a16:creationId xmlns:a16="http://schemas.microsoft.com/office/drawing/2014/main" id="{F2D9798F-18F9-A580-28E5-5F57A8FCFA86}"/>
                </a:ext>
              </a:extLst>
            </p:cNvPr>
            <p:cNvSpPr/>
            <p:nvPr/>
          </p:nvSpPr>
          <p:spPr>
            <a:xfrm rot="2485662">
              <a:off x="4361419" y="1706724"/>
              <a:ext cx="4628041" cy="2130631"/>
            </a:xfrm>
            <a:prstGeom prst="ellipse">
              <a:avLst/>
            </a:prstGeom>
            <a:noFill/>
            <a:ln>
              <a:solidFill>
                <a:schemeClr val="tx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DE" dirty="0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84E544D-F70B-81E5-49BC-12DF2AF8FF14}"/>
              </a:ext>
            </a:extLst>
          </p:cNvPr>
          <p:cNvGrpSpPr/>
          <p:nvPr/>
        </p:nvGrpSpPr>
        <p:grpSpPr>
          <a:xfrm>
            <a:off x="1646265" y="1757529"/>
            <a:ext cx="2595920" cy="5087596"/>
            <a:chOff x="4794703" y="1420579"/>
            <a:chExt cx="2595920" cy="5087596"/>
          </a:xfrm>
        </p:grpSpPr>
        <p:pic>
          <p:nvPicPr>
            <p:cNvPr id="2060" name="Graphic 2059" descr="Satellite with solid fill">
              <a:extLst>
                <a:ext uri="{FF2B5EF4-FFF2-40B4-BE49-F238E27FC236}">
                  <a16:creationId xmlns:a16="http://schemas.microsoft.com/office/drawing/2014/main" id="{811547FA-E428-D38A-CFB5-71294FE076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847842" y="1420579"/>
              <a:ext cx="458616" cy="458616"/>
            </a:xfrm>
            <a:prstGeom prst="rect">
              <a:avLst/>
            </a:prstGeom>
          </p:spPr>
        </p:pic>
        <p:sp>
          <p:nvSpPr>
            <p:cNvPr id="2062" name="Oval 2061">
              <a:extLst>
                <a:ext uri="{FF2B5EF4-FFF2-40B4-BE49-F238E27FC236}">
                  <a16:creationId xmlns:a16="http://schemas.microsoft.com/office/drawing/2014/main" id="{3D611DFE-5985-E770-4F5F-633D0C6FC5E6}"/>
                </a:ext>
              </a:extLst>
            </p:cNvPr>
            <p:cNvSpPr/>
            <p:nvPr/>
          </p:nvSpPr>
          <p:spPr>
            <a:xfrm rot="5400000">
              <a:off x="3781979" y="2899531"/>
              <a:ext cx="4628041" cy="2130631"/>
            </a:xfrm>
            <a:prstGeom prst="ellipse">
              <a:avLst/>
            </a:prstGeom>
            <a:noFill/>
            <a:ln>
              <a:solidFill>
                <a:schemeClr val="tx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DE" dirty="0"/>
            </a:p>
          </p:txBody>
        </p:sp>
        <p:pic>
          <p:nvPicPr>
            <p:cNvPr id="2064" name="Graphic 2063" descr="Satellite with solid fill">
              <a:extLst>
                <a:ext uri="{FF2B5EF4-FFF2-40B4-BE49-F238E27FC236}">
                  <a16:creationId xmlns:a16="http://schemas.microsoft.com/office/drawing/2014/main" id="{8D1CC4BB-738F-1D52-5807-7548070FFC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932007" y="3673109"/>
              <a:ext cx="458616" cy="458616"/>
            </a:xfrm>
            <a:prstGeom prst="rect">
              <a:avLst/>
            </a:prstGeom>
          </p:spPr>
        </p:pic>
        <p:pic>
          <p:nvPicPr>
            <p:cNvPr id="2065" name="Graphic 2064" descr="Satellite with solid fill">
              <a:extLst>
                <a:ext uri="{FF2B5EF4-FFF2-40B4-BE49-F238E27FC236}">
                  <a16:creationId xmlns:a16="http://schemas.microsoft.com/office/drawing/2014/main" id="{295AAEE7-7393-5F26-F3F8-9D476474C64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834665" y="6049559"/>
              <a:ext cx="458616" cy="458616"/>
            </a:xfrm>
            <a:prstGeom prst="rect">
              <a:avLst/>
            </a:prstGeom>
          </p:spPr>
        </p:pic>
        <p:pic>
          <p:nvPicPr>
            <p:cNvPr id="2066" name="Graphic 2065" descr="Satellite with solid fill">
              <a:extLst>
                <a:ext uri="{FF2B5EF4-FFF2-40B4-BE49-F238E27FC236}">
                  <a16:creationId xmlns:a16="http://schemas.microsoft.com/office/drawing/2014/main" id="{425523D3-F671-0C47-BA62-DEB4AFF75B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794703" y="3603655"/>
              <a:ext cx="458616" cy="458616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148070E-F692-7122-6831-EF3CB03479FD}"/>
              </a:ext>
            </a:extLst>
          </p:cNvPr>
          <p:cNvGrpSpPr/>
          <p:nvPr/>
        </p:nvGrpSpPr>
        <p:grpSpPr>
          <a:xfrm>
            <a:off x="652202" y="3168878"/>
            <a:ext cx="4628041" cy="2230883"/>
            <a:chOff x="3789448" y="2852443"/>
            <a:chExt cx="4628041" cy="2230883"/>
          </a:xfrm>
        </p:grpSpPr>
        <p:sp>
          <p:nvSpPr>
            <p:cNvPr id="2063" name="Oval 2062">
              <a:extLst>
                <a:ext uri="{FF2B5EF4-FFF2-40B4-BE49-F238E27FC236}">
                  <a16:creationId xmlns:a16="http://schemas.microsoft.com/office/drawing/2014/main" id="{7E13F6F0-5B3E-B724-A722-F22E34BABBAA}"/>
                </a:ext>
              </a:extLst>
            </p:cNvPr>
            <p:cNvSpPr/>
            <p:nvPr/>
          </p:nvSpPr>
          <p:spPr>
            <a:xfrm rot="10800000">
              <a:off x="3789448" y="2899531"/>
              <a:ext cx="4628041" cy="2130631"/>
            </a:xfrm>
            <a:prstGeom prst="ellipse">
              <a:avLst/>
            </a:prstGeom>
            <a:noFill/>
            <a:ln>
              <a:solidFill>
                <a:schemeClr val="tx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DE" dirty="0"/>
            </a:p>
          </p:txBody>
        </p:sp>
        <p:pic>
          <p:nvPicPr>
            <p:cNvPr id="2067" name="Graphic 2066" descr="Satellite with solid fill">
              <a:extLst>
                <a:ext uri="{FF2B5EF4-FFF2-40B4-BE49-F238E27FC236}">
                  <a16:creationId xmlns:a16="http://schemas.microsoft.com/office/drawing/2014/main" id="{CE34387E-DCE4-A4EF-5953-5A30735B21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353626" y="2933634"/>
              <a:ext cx="458616" cy="458616"/>
            </a:xfrm>
            <a:prstGeom prst="rect">
              <a:avLst/>
            </a:prstGeom>
          </p:spPr>
        </p:pic>
        <p:pic>
          <p:nvPicPr>
            <p:cNvPr id="2068" name="Graphic 2067" descr="Satellite with solid fill">
              <a:extLst>
                <a:ext uri="{FF2B5EF4-FFF2-40B4-BE49-F238E27FC236}">
                  <a16:creationId xmlns:a16="http://schemas.microsoft.com/office/drawing/2014/main" id="{160525B0-32C6-0FB8-93C0-868A32EE0A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197290" y="4624710"/>
              <a:ext cx="458616" cy="458616"/>
            </a:xfrm>
            <a:prstGeom prst="rect">
              <a:avLst/>
            </a:prstGeom>
          </p:spPr>
        </p:pic>
        <p:pic>
          <p:nvPicPr>
            <p:cNvPr id="2069" name="Graphic 2068" descr="Satellite with solid fill">
              <a:extLst>
                <a:ext uri="{FF2B5EF4-FFF2-40B4-BE49-F238E27FC236}">
                  <a16:creationId xmlns:a16="http://schemas.microsoft.com/office/drawing/2014/main" id="{AF66AD52-D248-CE82-4680-60CC437F80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430774" y="4615032"/>
              <a:ext cx="458616" cy="458616"/>
            </a:xfrm>
            <a:prstGeom prst="rect">
              <a:avLst/>
            </a:prstGeom>
          </p:spPr>
        </p:pic>
        <p:pic>
          <p:nvPicPr>
            <p:cNvPr id="2070" name="Graphic 2069" descr="Satellite with solid fill">
              <a:extLst>
                <a:ext uri="{FF2B5EF4-FFF2-40B4-BE49-F238E27FC236}">
                  <a16:creationId xmlns:a16="http://schemas.microsoft.com/office/drawing/2014/main" id="{23BB5CB5-6F25-D5C7-6F32-EB544C41F5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526482" y="2852443"/>
              <a:ext cx="458616" cy="458616"/>
            </a:xfrm>
            <a:prstGeom prst="rect">
              <a:avLst/>
            </a:prstGeom>
          </p:spPr>
        </p:pic>
      </p:grpSp>
      <p:graphicFrame>
        <p:nvGraphicFramePr>
          <p:cNvPr id="14" name="Diagram 13">
            <a:extLst>
              <a:ext uri="{FF2B5EF4-FFF2-40B4-BE49-F238E27FC236}">
                <a16:creationId xmlns:a16="http://schemas.microsoft.com/office/drawing/2014/main" id="{D7B85D2C-5402-8E3F-2A07-83E1096288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43258043"/>
              </p:ext>
            </p:extLst>
          </p:nvPr>
        </p:nvGraphicFramePr>
        <p:xfrm>
          <a:off x="6704974" y="2107325"/>
          <a:ext cx="3970405" cy="43726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sp>
        <p:nvSpPr>
          <p:cNvPr id="37" name="TextBox 36">
            <a:extLst>
              <a:ext uri="{FF2B5EF4-FFF2-40B4-BE49-F238E27FC236}">
                <a16:creationId xmlns:a16="http://schemas.microsoft.com/office/drawing/2014/main" id="{A76715E1-5651-9675-CECE-EF8678AB395E}"/>
              </a:ext>
            </a:extLst>
          </p:cNvPr>
          <p:cNvSpPr txBox="1"/>
          <p:nvPr/>
        </p:nvSpPr>
        <p:spPr>
          <a:xfrm>
            <a:off x="309604" y="1438911"/>
            <a:ext cx="759441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dirty="0"/>
              <a:t>				… and workloads</a:t>
            </a:r>
            <a:endParaRPr lang="en-DE" sz="2800" dirty="0"/>
          </a:p>
        </p:txBody>
      </p:sp>
    </p:spTree>
    <p:extLst>
      <p:ext uri="{BB962C8B-B14F-4D97-AF65-F5344CB8AC3E}">
        <p14:creationId xmlns:p14="http://schemas.microsoft.com/office/powerpoint/2010/main" val="15079353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4" grpId="0">
        <p:bldAsOne/>
      </p:bldGraphic>
      <p:bldP spid="3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96234D-AFE1-98BB-3BDF-E87783E9F5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C391D6-5047-3298-9A36-A2B3A90983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de-DE">
              <a:cs typeface="Arial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7824730-1DE4-7AED-DBAE-45651692FD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604" y="994339"/>
            <a:ext cx="7864938" cy="1231106"/>
          </a:xfrm>
        </p:spPr>
        <p:txBody>
          <a:bodyPr/>
          <a:lstStyle/>
          <a:p>
            <a:r>
              <a:rPr lang="en-US" sz="3200" dirty="0"/>
              <a:t>Can Deep Reinforcement Learning (DRL) help reduce workloads and enhance </a:t>
            </a:r>
            <a:br>
              <a:rPr lang="en-US" sz="3200" dirty="0"/>
            </a:br>
            <a:r>
              <a:rPr lang="en-US" sz="3200" dirty="0"/>
              <a:t>Space Situational Awareness (SSA)?</a:t>
            </a:r>
            <a:endParaRPr lang="en-DE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70D49F9-575F-5B9E-A9E5-9CF862B52DBB}"/>
              </a:ext>
            </a:extLst>
          </p:cNvPr>
          <p:cNvSpPr txBox="1"/>
          <p:nvPr/>
        </p:nvSpPr>
        <p:spPr>
          <a:xfrm>
            <a:off x="480341" y="3461267"/>
            <a:ext cx="3235596" cy="10156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2000" b="1" dirty="0"/>
              <a:t>How do we improve monitoring of other satellites and debris?</a:t>
            </a:r>
            <a:endParaRPr lang="en-DE" dirty="0"/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A446FE2A-BC13-6802-46B3-E7FAAEC79EC6}"/>
              </a:ext>
            </a:extLst>
          </p:cNvPr>
          <p:cNvSpPr/>
          <p:nvPr/>
        </p:nvSpPr>
        <p:spPr>
          <a:xfrm rot="19266195">
            <a:off x="3272823" y="2896540"/>
            <a:ext cx="5292863" cy="2867772"/>
          </a:xfrm>
          <a:prstGeom prst="donut">
            <a:avLst>
              <a:gd name="adj" fmla="val 24806"/>
            </a:avLst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056" name="Picture 8" descr="Earth PNG Image - PurePNG | Free transparent CC0 PNG Image Library">
            <a:extLst>
              <a:ext uri="{FF2B5EF4-FFF2-40B4-BE49-F238E27FC236}">
                <a16:creationId xmlns:a16="http://schemas.microsoft.com/office/drawing/2014/main" id="{541E5AFE-EFAD-6951-F042-242A764A34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7747" y="3499397"/>
            <a:ext cx="1465316" cy="1465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63E5A4FB-8EDA-CE48-702C-156FD710FB99}"/>
              </a:ext>
            </a:extLst>
          </p:cNvPr>
          <p:cNvSpPr/>
          <p:nvPr/>
        </p:nvSpPr>
        <p:spPr>
          <a:xfrm rot="19340021">
            <a:off x="3617344" y="3249212"/>
            <a:ext cx="4628041" cy="2130631"/>
          </a:xfrm>
          <a:prstGeom prst="ellipse">
            <a:avLst/>
          </a:prstGeom>
          <a:noFill/>
          <a:ln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pic>
        <p:nvPicPr>
          <p:cNvPr id="1034" name="Graphic 1033" descr="Satellite with solid fill">
            <a:extLst>
              <a:ext uri="{FF2B5EF4-FFF2-40B4-BE49-F238E27FC236}">
                <a16:creationId xmlns:a16="http://schemas.microsoft.com/office/drawing/2014/main" id="{AE9A7E4E-352F-F399-C55B-7F4DBB74CE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40749" y="3247058"/>
            <a:ext cx="458616" cy="458616"/>
          </a:xfrm>
          <a:prstGeom prst="rect">
            <a:avLst/>
          </a:prstGeom>
        </p:spPr>
      </p:pic>
      <p:pic>
        <p:nvPicPr>
          <p:cNvPr id="9" name="Graphic 8" descr="Satellite with solid fill">
            <a:extLst>
              <a:ext uri="{FF2B5EF4-FFF2-40B4-BE49-F238E27FC236}">
                <a16:creationId xmlns:a16="http://schemas.microsoft.com/office/drawing/2014/main" id="{524A3537-1D6F-9C0E-7955-BB39D91316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78681" y="2530472"/>
            <a:ext cx="458616" cy="458616"/>
          </a:xfrm>
          <a:prstGeom prst="rect">
            <a:avLst/>
          </a:prstGeom>
        </p:spPr>
      </p:pic>
      <p:pic>
        <p:nvPicPr>
          <p:cNvPr id="11" name="Graphic 10" descr="Satellite with solid fill">
            <a:extLst>
              <a:ext uri="{FF2B5EF4-FFF2-40B4-BE49-F238E27FC236}">
                <a16:creationId xmlns:a16="http://schemas.microsoft.com/office/drawing/2014/main" id="{65F28115-5D7A-2C9F-BC2D-B548C354254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73927" y="4895370"/>
            <a:ext cx="458616" cy="458616"/>
          </a:xfrm>
          <a:prstGeom prst="rect">
            <a:avLst/>
          </a:prstGeom>
        </p:spPr>
      </p:pic>
      <p:pic>
        <p:nvPicPr>
          <p:cNvPr id="12" name="Graphic 11" descr="Satellite with solid fill">
            <a:extLst>
              <a:ext uri="{FF2B5EF4-FFF2-40B4-BE49-F238E27FC236}">
                <a16:creationId xmlns:a16="http://schemas.microsoft.com/office/drawing/2014/main" id="{F20DC65B-B5A8-B33A-E592-48081E58369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97281" y="5557487"/>
            <a:ext cx="458616" cy="458616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B0EA15B7-490B-1CD0-2072-AFEA09C93D75}"/>
              </a:ext>
            </a:extLst>
          </p:cNvPr>
          <p:cNvGrpSpPr/>
          <p:nvPr/>
        </p:nvGrpSpPr>
        <p:grpSpPr>
          <a:xfrm>
            <a:off x="7659830" y="1701252"/>
            <a:ext cx="2403376" cy="1973699"/>
            <a:chOff x="7659830" y="1701252"/>
            <a:chExt cx="2403376" cy="1973699"/>
          </a:xfrm>
        </p:grpSpPr>
        <p:pic>
          <p:nvPicPr>
            <p:cNvPr id="14" name="Graphic 13" descr="Cone outline">
              <a:extLst>
                <a:ext uri="{FF2B5EF4-FFF2-40B4-BE49-F238E27FC236}">
                  <a16:creationId xmlns:a16="http://schemas.microsoft.com/office/drawing/2014/main" id="{6A18B8D8-D590-D33C-9F23-C503722C92B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4759519">
              <a:off x="7659830" y="1701252"/>
              <a:ext cx="1973699" cy="1973699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2BBF2E5-919A-3942-2B91-48A605A8103F}"/>
                </a:ext>
              </a:extLst>
            </p:cNvPr>
            <p:cNvGrpSpPr/>
            <p:nvPr/>
          </p:nvGrpSpPr>
          <p:grpSpPr>
            <a:xfrm>
              <a:off x="9116526" y="2057232"/>
              <a:ext cx="946680" cy="914400"/>
              <a:chOff x="3133607" y="5223868"/>
              <a:chExt cx="946680" cy="914400"/>
            </a:xfrm>
            <a:solidFill>
              <a:schemeClr val="bg2"/>
            </a:solidFill>
          </p:grpSpPr>
          <p:pic>
            <p:nvPicPr>
              <p:cNvPr id="16" name="Graphic 15" descr="Satellite with solid fill">
                <a:extLst>
                  <a:ext uri="{FF2B5EF4-FFF2-40B4-BE49-F238E27FC236}">
                    <a16:creationId xmlns:a16="http://schemas.microsoft.com/office/drawing/2014/main" id="{B601C3D4-6141-94D6-7836-FB05D2AAF2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133607" y="5223868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7" name="Graphic 16" descr="Camera with solid fill">
                <a:extLst>
                  <a:ext uri="{FF2B5EF4-FFF2-40B4-BE49-F238E27FC236}">
                    <a16:creationId xmlns:a16="http://schemas.microsoft.com/office/drawing/2014/main" id="{91538B94-9BF2-159E-98CC-704CC5C00D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3687348" y="5241778"/>
                <a:ext cx="392939" cy="392939"/>
              </a:xfrm>
              <a:prstGeom prst="rect">
                <a:avLst/>
              </a:prstGeom>
            </p:spPr>
          </p:pic>
        </p:grp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2E678A8F-4F50-730A-12CC-E652F00E59A9}"/>
              </a:ext>
            </a:extLst>
          </p:cNvPr>
          <p:cNvSpPr txBox="1"/>
          <p:nvPr/>
        </p:nvSpPr>
        <p:spPr>
          <a:xfrm>
            <a:off x="8840023" y="4732415"/>
            <a:ext cx="3235596" cy="120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dirty="0"/>
              <a:t>Can we use DRL to autonomously manage a constellation of observer satellites?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0841237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6 0.00047 C 0.07891 -0.1162 0.16901 -0.1574 0.19922 -0.0919 C 0.22917 -0.02615 0.18737 0.12223 0.10703 0.23982 C 0.02591 0.35556 -0.06484 0.39746 -0.09492 0.33148 C -0.12474 0.26574 -0.08346 0.11783 -0.0026 0.00047 Z " pathEditMode="relative" rAng="19260000" ptsTypes="AAAAA">
                                      <p:cBhvr>
                                        <p:cTn id="6" dur="20000" fill="hold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482" y="1194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45833E-6 -0.00092 C 0.02982 0.07153 -0.01276 0.21968 -0.09583 0.33149 C -0.17903 0.44283 -0.27083 0.47431 -0.30247 0.40487 C -0.33203 0.33311 -0.2888 0.18426 -0.20573 0.07269 C -0.12278 -0.03796 -0.03086 -0.07083 -1.45833E-6 -0.00092 Z " pathEditMode="relative" rAng="3180000" ptsTypes="AAAAA">
                                      <p:cBhvr>
                                        <p:cTn id="8" dur="2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104" y="20324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26 -0.00116 C -0.08151 0.11783 -0.17097 0.16273 -0.20287 0.09815 C -0.23347 0.03148 -0.19271 -0.11944 -0.11381 -0.24028 C -0.03386 -0.35764 0.05651 -0.40116 0.08724 -0.33472 C 0.1177 -0.26967 0.07851 -0.11967 -0.00026 -0.00116 Z " pathEditMode="relative" rAng="8400000" ptsTypes="AAAAA">
                                      <p:cBhvr>
                                        <p:cTn id="10" dur="2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781" y="-11782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45833E-6 1.11022E-16 C -0.02982 -0.07245 0.01276 -0.2206 0.09583 -0.33241 C 0.17904 -0.44375 0.27083 -0.47523 0.30248 -0.40579 C 0.33203 -0.33403 0.2888 -0.18519 0.20573 -0.07361 C 0.12279 0.03704 0.03086 0.06991 -1.45833E-6 1.11022E-16 Z " pathEditMode="relative" rAng="13980000" ptsTypes="AAAAA">
                                      <p:cBhvr>
                                        <p:cTn id="12" dur="2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104" y="-20324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37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39 0.00023 L -0.01744 0.15717 C -0.02031 0.18981 -0.0319 0.23055 -0.04804 0.26759 C -0.06653 0.30949 -0.08489 0.3368 -0.1026 0.35023 L -0.18333 0.41829 " pathEditMode="relative" rAng="18480000" ptsTypes="AAAAA">
                                      <p:cBhvr>
                                        <p:cTn id="14" dur="2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044" y="2388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DFDAE0-D6C7-4BE1-F946-09D0765F3D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drawing of a triangle with a camera and a distance&#10;&#10;AI-generated content may be incorrect.">
            <a:extLst>
              <a:ext uri="{FF2B5EF4-FFF2-40B4-BE49-F238E27FC236}">
                <a16:creationId xmlns:a16="http://schemas.microsoft.com/office/drawing/2014/main" id="{6C335164-30F2-2984-A66A-184C72D09E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734" y="5073086"/>
            <a:ext cx="2062142" cy="140691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B039B5C-6E99-632E-C641-8E62936ED4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0999" y="1818866"/>
            <a:ext cx="5280093" cy="5053276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08FB70-50E8-673D-0533-1178707AB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de-DE" dirty="0">
              <a:cs typeface="Arial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6100EA3-D1D0-2008-D71D-3B20706C41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334" y="853753"/>
            <a:ext cx="10711687" cy="820738"/>
          </a:xfrm>
        </p:spPr>
        <p:txBody>
          <a:bodyPr/>
          <a:lstStyle/>
          <a:p>
            <a:r>
              <a:rPr lang="en-US" sz="3200" dirty="0"/>
              <a:t>Mission Goal:</a:t>
            </a:r>
            <a:br>
              <a:rPr lang="en-US" sz="3200" dirty="0"/>
            </a:br>
            <a:r>
              <a:rPr lang="en-US" sz="3200" dirty="0"/>
              <a:t>Detect and Monitor All Target Objects</a:t>
            </a:r>
            <a:endParaRPr lang="en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6FC5F7-722B-D416-A237-53B3E66625C2}"/>
              </a:ext>
            </a:extLst>
          </p:cNvPr>
          <p:cNvSpPr txBox="1"/>
          <p:nvPr/>
        </p:nvSpPr>
        <p:spPr>
          <a:xfrm>
            <a:off x="8646803" y="3545171"/>
            <a:ext cx="3235596" cy="150810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2000" b="1" dirty="0"/>
              <a:t>Target Satelli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100 obj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ar SS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600 – 900 km orbit heigh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1-meter equivalent size</a:t>
            </a:r>
            <a:endParaRPr lang="en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F32F41-705F-FA3F-B085-8A97C452950D}"/>
              </a:ext>
            </a:extLst>
          </p:cNvPr>
          <p:cNvSpPr txBox="1"/>
          <p:nvPr/>
        </p:nvSpPr>
        <p:spPr>
          <a:xfrm>
            <a:off x="554313" y="1818866"/>
            <a:ext cx="3471947" cy="31700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2000" b="1" dirty="0"/>
              <a:t>Observer Satelli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20 participa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alker-Delta constellation with 5 planes (20/5/1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700 – 800 km orbit heigh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3 operational modes: idle, communication, paylo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80 </a:t>
            </a:r>
            <a:r>
              <a:rPr lang="en-US" dirty="0" err="1"/>
              <a:t>Wh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32 G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ptical Paylo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mnidirectional Comm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68E8A1D-232F-92E0-FFEA-C6DEA2A77E39}"/>
              </a:ext>
            </a:extLst>
          </p:cNvPr>
          <p:cNvGrpSpPr/>
          <p:nvPr/>
        </p:nvGrpSpPr>
        <p:grpSpPr>
          <a:xfrm>
            <a:off x="3278578" y="5710132"/>
            <a:ext cx="632093" cy="626644"/>
            <a:chOff x="8576044" y="3983885"/>
            <a:chExt cx="914400" cy="914648"/>
          </a:xfrm>
        </p:grpSpPr>
        <p:pic>
          <p:nvPicPr>
            <p:cNvPr id="5" name="Graphic 4" descr="Satellite outline">
              <a:extLst>
                <a:ext uri="{FF2B5EF4-FFF2-40B4-BE49-F238E27FC236}">
                  <a16:creationId xmlns:a16="http://schemas.microsoft.com/office/drawing/2014/main" id="{A9C5FC80-1537-050F-7672-77BDEF52E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576044" y="3984133"/>
              <a:ext cx="914400" cy="914400"/>
            </a:xfrm>
            <a:prstGeom prst="rect">
              <a:avLst/>
            </a:prstGeom>
          </p:spPr>
        </p:pic>
        <p:pic>
          <p:nvPicPr>
            <p:cNvPr id="6" name="Graphic 5" descr="Camera with solid fill">
              <a:extLst>
                <a:ext uri="{FF2B5EF4-FFF2-40B4-BE49-F238E27FC236}">
                  <a16:creationId xmlns:a16="http://schemas.microsoft.com/office/drawing/2014/main" id="{DEE4F19D-5AB6-5DD3-1E92-A0B9790B7BC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097504" y="3983885"/>
              <a:ext cx="392939" cy="392939"/>
            </a:xfrm>
            <a:prstGeom prst="rect">
              <a:avLst/>
            </a:prstGeom>
          </p:spPr>
        </p:pic>
      </p:grpSp>
      <p:pic>
        <p:nvPicPr>
          <p:cNvPr id="9" name="Graphic 8" descr="Wi-Fi outline">
            <a:extLst>
              <a:ext uri="{FF2B5EF4-FFF2-40B4-BE49-F238E27FC236}">
                <a16:creationId xmlns:a16="http://schemas.microsoft.com/office/drawing/2014/main" id="{F91B0FC5-51E8-B479-F45C-726FAA674BD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2720153">
            <a:off x="3646031" y="5123890"/>
            <a:ext cx="914400" cy="914400"/>
          </a:xfrm>
          <a:prstGeom prst="rect">
            <a:avLst/>
          </a:prstGeom>
        </p:spPr>
      </p:pic>
      <p:pic>
        <p:nvPicPr>
          <p:cNvPr id="12" name="Graphic 11" descr="Wi-Fi outline">
            <a:extLst>
              <a:ext uri="{FF2B5EF4-FFF2-40B4-BE49-F238E27FC236}">
                <a16:creationId xmlns:a16="http://schemas.microsoft.com/office/drawing/2014/main" id="{899F7C9C-73C6-CA7C-03AE-7689B259D1F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9151448">
            <a:off x="2732336" y="5097213"/>
            <a:ext cx="914400" cy="914400"/>
          </a:xfrm>
          <a:prstGeom prst="rect">
            <a:avLst/>
          </a:prstGeom>
        </p:spPr>
      </p:pic>
      <p:pic>
        <p:nvPicPr>
          <p:cNvPr id="22" name="Graphic 21" descr="Wi-Fi outline">
            <a:extLst>
              <a:ext uri="{FF2B5EF4-FFF2-40B4-BE49-F238E27FC236}">
                <a16:creationId xmlns:a16="http://schemas.microsoft.com/office/drawing/2014/main" id="{C345CE3C-0135-170F-6CAC-9D620F735A8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8179116">
            <a:off x="3540957" y="5919615"/>
            <a:ext cx="914400" cy="914400"/>
          </a:xfrm>
          <a:prstGeom prst="rect">
            <a:avLst/>
          </a:prstGeom>
        </p:spPr>
      </p:pic>
      <p:pic>
        <p:nvPicPr>
          <p:cNvPr id="23" name="Graphic 22" descr="Wi-Fi outline">
            <a:extLst>
              <a:ext uri="{FF2B5EF4-FFF2-40B4-BE49-F238E27FC236}">
                <a16:creationId xmlns:a16="http://schemas.microsoft.com/office/drawing/2014/main" id="{2E4CA71A-9DFA-FCC3-DF6F-FE3E66A8A45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3417185">
            <a:off x="2697931" y="594200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8107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92213E-4CCD-5F67-5771-ED45342888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Callout: Down Arrow 38">
            <a:extLst>
              <a:ext uri="{FF2B5EF4-FFF2-40B4-BE49-F238E27FC236}">
                <a16:creationId xmlns:a16="http://schemas.microsoft.com/office/drawing/2014/main" id="{AAD47A09-D69D-2F8A-01A1-E5F4B7F19D4D}"/>
              </a:ext>
            </a:extLst>
          </p:cNvPr>
          <p:cNvSpPr/>
          <p:nvPr/>
        </p:nvSpPr>
        <p:spPr>
          <a:xfrm rot="10800000">
            <a:off x="6555700" y="1651093"/>
            <a:ext cx="5133617" cy="4144123"/>
          </a:xfrm>
          <a:prstGeom prst="downArrowCallout">
            <a:avLst>
              <a:gd name="adj1" fmla="val 16249"/>
              <a:gd name="adj2" fmla="val 24010"/>
              <a:gd name="adj3" fmla="val 5788"/>
              <a:gd name="adj4" fmla="val 91801"/>
            </a:avLst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54151F1-EA3E-1266-4DC3-F1F0F09DB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de-DE">
              <a:cs typeface="Arial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BC68078-A030-9C22-5C2C-DAC538E4A062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784833" y="2169847"/>
            <a:ext cx="2632092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>
                <a:latin typeface="+mn-lt"/>
              </a:rPr>
              <a:t>Observers share information about themselves and their monitored targets</a:t>
            </a:r>
          </a:p>
        </p:txBody>
      </p:sp>
      <p:pic>
        <p:nvPicPr>
          <p:cNvPr id="7" name="Picture 8" descr="Earth PNG Image - PurePNG | Free transparent CC0 PNG Image Library">
            <a:extLst>
              <a:ext uri="{FF2B5EF4-FFF2-40B4-BE49-F238E27FC236}">
                <a16:creationId xmlns:a16="http://schemas.microsoft.com/office/drawing/2014/main" id="{B3BFBCB8-EC30-A30D-990B-30299B2F91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2425" y="2715110"/>
            <a:ext cx="1901327" cy="1901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phic 7" descr="Cone outline">
            <a:extLst>
              <a:ext uri="{FF2B5EF4-FFF2-40B4-BE49-F238E27FC236}">
                <a16:creationId xmlns:a16="http://schemas.microsoft.com/office/drawing/2014/main" id="{38D410CD-68C7-7380-E309-6C40034DDE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4943514">
            <a:off x="5362354" y="559981"/>
            <a:ext cx="1973699" cy="1973699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F71C1320-9531-C8D4-2907-789FF6A8B533}"/>
              </a:ext>
            </a:extLst>
          </p:cNvPr>
          <p:cNvGrpSpPr/>
          <p:nvPr/>
        </p:nvGrpSpPr>
        <p:grpSpPr>
          <a:xfrm rot="1932030">
            <a:off x="4703213" y="5183065"/>
            <a:ext cx="914400" cy="1044408"/>
            <a:chOff x="3270509" y="5206753"/>
            <a:chExt cx="914400" cy="1044408"/>
          </a:xfrm>
          <a:solidFill>
            <a:schemeClr val="bg2"/>
          </a:solidFill>
        </p:grpSpPr>
        <p:pic>
          <p:nvPicPr>
            <p:cNvPr id="13" name="Graphic 12" descr="Satellite with solid fill">
              <a:extLst>
                <a:ext uri="{FF2B5EF4-FFF2-40B4-BE49-F238E27FC236}">
                  <a16:creationId xmlns:a16="http://schemas.microsoft.com/office/drawing/2014/main" id="{3B00BB9A-EEDD-8FE9-FEF0-E50B3996AA2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7914539">
              <a:off x="3270509" y="5206753"/>
              <a:ext cx="914400" cy="914400"/>
            </a:xfrm>
            <a:prstGeom prst="rect">
              <a:avLst/>
            </a:prstGeom>
          </p:spPr>
        </p:pic>
        <p:pic>
          <p:nvPicPr>
            <p:cNvPr id="14" name="Graphic 13" descr="Camera with solid fill">
              <a:extLst>
                <a:ext uri="{FF2B5EF4-FFF2-40B4-BE49-F238E27FC236}">
                  <a16:creationId xmlns:a16="http://schemas.microsoft.com/office/drawing/2014/main" id="{1FCF397C-E31B-1543-2EF0-4DB214644C1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9667970">
              <a:off x="3442374" y="5858222"/>
              <a:ext cx="392939" cy="392939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4F261EF-E510-28C8-06C6-F562AB1640BB}"/>
              </a:ext>
            </a:extLst>
          </p:cNvPr>
          <p:cNvGrpSpPr/>
          <p:nvPr/>
        </p:nvGrpSpPr>
        <p:grpSpPr>
          <a:xfrm>
            <a:off x="4703799" y="1690662"/>
            <a:ext cx="946680" cy="914400"/>
            <a:chOff x="3133607" y="5223868"/>
            <a:chExt cx="946680" cy="914400"/>
          </a:xfrm>
          <a:solidFill>
            <a:schemeClr val="bg2"/>
          </a:solidFill>
        </p:grpSpPr>
        <p:pic>
          <p:nvPicPr>
            <p:cNvPr id="16" name="Graphic 15" descr="Satellite with solid fill">
              <a:extLst>
                <a:ext uri="{FF2B5EF4-FFF2-40B4-BE49-F238E27FC236}">
                  <a16:creationId xmlns:a16="http://schemas.microsoft.com/office/drawing/2014/main" id="{751E3E4F-5A7F-9482-4F80-059F4E6486B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133607" y="5223868"/>
              <a:ext cx="914400" cy="914400"/>
            </a:xfrm>
            <a:prstGeom prst="rect">
              <a:avLst/>
            </a:prstGeom>
          </p:spPr>
        </p:pic>
        <p:pic>
          <p:nvPicPr>
            <p:cNvPr id="17" name="Graphic 16" descr="Camera with solid fill">
              <a:extLst>
                <a:ext uri="{FF2B5EF4-FFF2-40B4-BE49-F238E27FC236}">
                  <a16:creationId xmlns:a16="http://schemas.microsoft.com/office/drawing/2014/main" id="{E5B86F59-CA81-4DC2-DCC1-C0AA35D2C3D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687348" y="5241778"/>
              <a:ext cx="392939" cy="392939"/>
            </a:xfrm>
            <a:prstGeom prst="rect">
              <a:avLst/>
            </a:prstGeom>
          </p:spPr>
        </p:pic>
      </p:grpSp>
      <p:pic>
        <p:nvPicPr>
          <p:cNvPr id="19" name="Graphic 18" descr="Wi-Fi outline">
            <a:extLst>
              <a:ext uri="{FF2B5EF4-FFF2-40B4-BE49-F238E27FC236}">
                <a16:creationId xmlns:a16="http://schemas.microsoft.com/office/drawing/2014/main" id="{C7B4CB59-CC33-9D57-1ED0-4DB79FEF522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103372" y="3372853"/>
            <a:ext cx="2577105" cy="2577105"/>
          </a:xfrm>
          <a:prstGeom prst="rect">
            <a:avLst/>
          </a:prstGeom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3826AD96-9422-33D5-4C7E-8C1018D2DFBC}"/>
              </a:ext>
            </a:extLst>
          </p:cNvPr>
          <p:cNvCxnSpPr>
            <a:cxnSpLocks/>
          </p:cNvCxnSpPr>
          <p:nvPr/>
        </p:nvCxnSpPr>
        <p:spPr>
          <a:xfrm flipH="1" flipV="1">
            <a:off x="5229507" y="2514600"/>
            <a:ext cx="28033" cy="1573306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62FCC1F-9DCE-8DB8-C20F-43B962FE5C1B}"/>
              </a:ext>
            </a:extLst>
          </p:cNvPr>
          <p:cNvCxnSpPr>
            <a:cxnSpLocks/>
            <a:endCxn id="23" idx="1"/>
          </p:cNvCxnSpPr>
          <p:nvPr/>
        </p:nvCxnSpPr>
        <p:spPr>
          <a:xfrm>
            <a:off x="5501516" y="2579190"/>
            <a:ext cx="1239542" cy="1226227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E48A35A-51EE-B8C9-22FD-9D385879F961}"/>
              </a:ext>
            </a:extLst>
          </p:cNvPr>
          <p:cNvCxnSpPr>
            <a:cxnSpLocks/>
            <a:endCxn id="24" idx="1"/>
          </p:cNvCxnSpPr>
          <p:nvPr/>
        </p:nvCxnSpPr>
        <p:spPr>
          <a:xfrm>
            <a:off x="5501516" y="2622100"/>
            <a:ext cx="1239542" cy="2577105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6F3FAD31-2BC5-6A93-ABFC-A0BB4876F24D}"/>
              </a:ext>
            </a:extLst>
          </p:cNvPr>
          <p:cNvGraphicFramePr>
            <a:graphicFrameLocks noGrp="1"/>
          </p:cNvGraphicFramePr>
          <p:nvPr/>
        </p:nvGraphicFramePr>
        <p:xfrm>
          <a:off x="6741058" y="3622537"/>
          <a:ext cx="4762900" cy="365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52580">
                  <a:extLst>
                    <a:ext uri="{9D8B030D-6E8A-4147-A177-3AD203B41FA5}">
                      <a16:colId xmlns:a16="http://schemas.microsoft.com/office/drawing/2014/main" val="1026124557"/>
                    </a:ext>
                  </a:extLst>
                </a:gridCol>
                <a:gridCol w="952580">
                  <a:extLst>
                    <a:ext uri="{9D8B030D-6E8A-4147-A177-3AD203B41FA5}">
                      <a16:colId xmlns:a16="http://schemas.microsoft.com/office/drawing/2014/main" val="579480116"/>
                    </a:ext>
                  </a:extLst>
                </a:gridCol>
                <a:gridCol w="952580">
                  <a:extLst>
                    <a:ext uri="{9D8B030D-6E8A-4147-A177-3AD203B41FA5}">
                      <a16:colId xmlns:a16="http://schemas.microsoft.com/office/drawing/2014/main" val="2827252693"/>
                    </a:ext>
                  </a:extLst>
                </a:gridCol>
                <a:gridCol w="952580">
                  <a:extLst>
                    <a:ext uri="{9D8B030D-6E8A-4147-A177-3AD203B41FA5}">
                      <a16:colId xmlns:a16="http://schemas.microsoft.com/office/drawing/2014/main" val="963702785"/>
                    </a:ext>
                  </a:extLst>
                </a:gridCol>
                <a:gridCol w="952580">
                  <a:extLst>
                    <a:ext uri="{9D8B030D-6E8A-4147-A177-3AD203B41FA5}">
                      <a16:colId xmlns:a16="http://schemas.microsoft.com/office/drawing/2014/main" val="1256161622"/>
                    </a:ext>
                  </a:extLst>
                </a:gridCol>
              </a:tblGrid>
              <a:tr h="365125"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D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84638269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F7E27AAF-08FF-55DA-ECD1-E7CC566305A0}"/>
              </a:ext>
            </a:extLst>
          </p:cNvPr>
          <p:cNvGraphicFramePr>
            <a:graphicFrameLocks noGrp="1"/>
          </p:cNvGraphicFramePr>
          <p:nvPr/>
        </p:nvGraphicFramePr>
        <p:xfrm>
          <a:off x="6741058" y="5016325"/>
          <a:ext cx="4762900" cy="365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52580">
                  <a:extLst>
                    <a:ext uri="{9D8B030D-6E8A-4147-A177-3AD203B41FA5}">
                      <a16:colId xmlns:a16="http://schemas.microsoft.com/office/drawing/2014/main" val="1026124557"/>
                    </a:ext>
                  </a:extLst>
                </a:gridCol>
                <a:gridCol w="952580">
                  <a:extLst>
                    <a:ext uri="{9D8B030D-6E8A-4147-A177-3AD203B41FA5}">
                      <a16:colId xmlns:a16="http://schemas.microsoft.com/office/drawing/2014/main" val="579480116"/>
                    </a:ext>
                  </a:extLst>
                </a:gridCol>
                <a:gridCol w="952580">
                  <a:extLst>
                    <a:ext uri="{9D8B030D-6E8A-4147-A177-3AD203B41FA5}">
                      <a16:colId xmlns:a16="http://schemas.microsoft.com/office/drawing/2014/main" val="2827252693"/>
                    </a:ext>
                  </a:extLst>
                </a:gridCol>
                <a:gridCol w="952580">
                  <a:extLst>
                    <a:ext uri="{9D8B030D-6E8A-4147-A177-3AD203B41FA5}">
                      <a16:colId xmlns:a16="http://schemas.microsoft.com/office/drawing/2014/main" val="963702785"/>
                    </a:ext>
                  </a:extLst>
                </a:gridCol>
                <a:gridCol w="952580">
                  <a:extLst>
                    <a:ext uri="{9D8B030D-6E8A-4147-A177-3AD203B41FA5}">
                      <a16:colId xmlns:a16="http://schemas.microsoft.com/office/drawing/2014/main" val="1256161622"/>
                    </a:ext>
                  </a:extLst>
                </a:gridCol>
              </a:tblGrid>
              <a:tr h="353494"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D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84638269"/>
                  </a:ext>
                </a:extLst>
              </a:tr>
            </a:tbl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FBFF8A2-5233-6DBA-1684-1611237353A2}"/>
              </a:ext>
            </a:extLst>
          </p:cNvPr>
          <p:cNvSpPr txBox="1"/>
          <p:nvPr/>
        </p:nvSpPr>
        <p:spPr>
          <a:xfrm>
            <a:off x="8186211" y="3318277"/>
            <a:ext cx="1779500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1600" u="sng" dirty="0">
                <a:latin typeface="+mn-lt"/>
              </a:rPr>
              <a:t>Targets</a:t>
            </a:r>
            <a:endParaRPr lang="en-DE" sz="1600" u="sng" dirty="0" err="1">
              <a:latin typeface="+mn-lt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6EBF2F4-54C1-CDCF-7383-7D3F7BD6B2AE}"/>
              </a:ext>
            </a:extLst>
          </p:cNvPr>
          <p:cNvSpPr txBox="1"/>
          <p:nvPr/>
        </p:nvSpPr>
        <p:spPr>
          <a:xfrm>
            <a:off x="7571090" y="4701596"/>
            <a:ext cx="3388937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1600" u="sng" dirty="0">
                <a:latin typeface="+mn-lt"/>
              </a:rPr>
              <a:t>Other observers in the constellation</a:t>
            </a:r>
            <a:endParaRPr lang="en-DE" sz="1600" u="sng" dirty="0" err="1">
              <a:latin typeface="+mn-lt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9DA7674-313A-811A-4836-7C3D31D37746}"/>
              </a:ext>
            </a:extLst>
          </p:cNvPr>
          <p:cNvSpPr txBox="1"/>
          <p:nvPr/>
        </p:nvSpPr>
        <p:spPr>
          <a:xfrm>
            <a:off x="6748588" y="4033043"/>
            <a:ext cx="937213" cy="4603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900" dirty="0"/>
              <a:t>p</a:t>
            </a:r>
            <a:r>
              <a:rPr lang="en-US" sz="900" dirty="0">
                <a:latin typeface="+mn-lt"/>
              </a:rPr>
              <a:t>osition</a:t>
            </a:r>
          </a:p>
          <a:p>
            <a:pPr>
              <a:lnSpc>
                <a:spcPct val="114000"/>
              </a:lnSpc>
            </a:pPr>
            <a:r>
              <a:rPr lang="en-US" sz="900" dirty="0"/>
              <a:t>velocity</a:t>
            </a:r>
          </a:p>
          <a:p>
            <a:pPr>
              <a:lnSpc>
                <a:spcPct val="114000"/>
              </a:lnSpc>
            </a:pPr>
            <a:r>
              <a:rPr lang="en-US" sz="900" dirty="0"/>
              <a:t>observation statu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AA01BC9-0D3A-5177-0360-DE21B5A1337A}"/>
              </a:ext>
            </a:extLst>
          </p:cNvPr>
          <p:cNvSpPr txBox="1"/>
          <p:nvPr/>
        </p:nvSpPr>
        <p:spPr>
          <a:xfrm>
            <a:off x="6762036" y="5478238"/>
            <a:ext cx="937213" cy="144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900" dirty="0"/>
              <a:t>orbital parameters</a:t>
            </a:r>
            <a:endParaRPr lang="en-DE" sz="900" dirty="0" err="1">
              <a:latin typeface="+mn-lt"/>
            </a:endParaRPr>
          </a:p>
        </p:txBody>
      </p:sp>
      <p:graphicFrame>
        <p:nvGraphicFramePr>
          <p:cNvPr id="29" name="Table 28">
            <a:extLst>
              <a:ext uri="{FF2B5EF4-FFF2-40B4-BE49-F238E27FC236}">
                <a16:creationId xmlns:a16="http://schemas.microsoft.com/office/drawing/2014/main" id="{6F593A72-BA47-73BD-232D-CE373073627E}"/>
              </a:ext>
            </a:extLst>
          </p:cNvPr>
          <p:cNvGraphicFramePr>
            <a:graphicFrameLocks noGrp="1"/>
          </p:cNvGraphicFramePr>
          <p:nvPr/>
        </p:nvGraphicFramePr>
        <p:xfrm>
          <a:off x="6762036" y="2370464"/>
          <a:ext cx="4741924" cy="4267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85481">
                  <a:extLst>
                    <a:ext uri="{9D8B030D-6E8A-4147-A177-3AD203B41FA5}">
                      <a16:colId xmlns:a16="http://schemas.microsoft.com/office/drawing/2014/main" val="4177464411"/>
                    </a:ext>
                  </a:extLst>
                </a:gridCol>
                <a:gridCol w="1185481">
                  <a:extLst>
                    <a:ext uri="{9D8B030D-6E8A-4147-A177-3AD203B41FA5}">
                      <a16:colId xmlns:a16="http://schemas.microsoft.com/office/drawing/2014/main" val="1026124557"/>
                    </a:ext>
                  </a:extLst>
                </a:gridCol>
                <a:gridCol w="1185481">
                  <a:extLst>
                    <a:ext uri="{9D8B030D-6E8A-4147-A177-3AD203B41FA5}">
                      <a16:colId xmlns:a16="http://schemas.microsoft.com/office/drawing/2014/main" val="579480116"/>
                    </a:ext>
                  </a:extLst>
                </a:gridCol>
                <a:gridCol w="1185481">
                  <a:extLst>
                    <a:ext uri="{9D8B030D-6E8A-4147-A177-3AD203B41FA5}">
                      <a16:colId xmlns:a16="http://schemas.microsoft.com/office/drawing/2014/main" val="2827252693"/>
                    </a:ext>
                  </a:extLst>
                </a:gridCol>
              </a:tblGrid>
              <a:tr h="365125">
                <a:tc>
                  <a:txBody>
                    <a:bodyPr/>
                    <a:lstStyle/>
                    <a:p>
                      <a:r>
                        <a:rPr lang="en-US" sz="1100" dirty="0"/>
                        <a:t>Orbital parameters</a:t>
                      </a:r>
                      <a:endParaRPr lang="en-DE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Battery</a:t>
                      </a:r>
                      <a:endParaRPr lang="en-DE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Storage</a:t>
                      </a:r>
                      <a:endParaRPr lang="en-DE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Communication capabilities</a:t>
                      </a:r>
                      <a:endParaRPr lang="en-DE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84638269"/>
                  </a:ext>
                </a:extLst>
              </a:tr>
            </a:tbl>
          </a:graphicData>
        </a:graphic>
      </p:graphicFrame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9330AAB1-F84E-1E9D-A440-F13E4AC01BAF}"/>
              </a:ext>
            </a:extLst>
          </p:cNvPr>
          <p:cNvCxnSpPr>
            <a:cxnSpLocks/>
            <a:endCxn id="29" idx="1"/>
          </p:cNvCxnSpPr>
          <p:nvPr/>
        </p:nvCxnSpPr>
        <p:spPr>
          <a:xfrm>
            <a:off x="5525760" y="2579190"/>
            <a:ext cx="1236276" cy="463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F9F11900-4E77-339A-D4B2-54C868472E4F}"/>
              </a:ext>
            </a:extLst>
          </p:cNvPr>
          <p:cNvSpPr txBox="1"/>
          <p:nvPr/>
        </p:nvSpPr>
        <p:spPr>
          <a:xfrm>
            <a:off x="8143494" y="2019237"/>
            <a:ext cx="1779500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1600" u="sng" dirty="0">
                <a:latin typeface="+mn-lt"/>
              </a:rPr>
              <a:t>Own state</a:t>
            </a:r>
            <a:endParaRPr lang="en-DE" sz="1600" u="sng" dirty="0" err="1">
              <a:latin typeface="+mn-lt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DD3C385-EF4C-D19D-F8C0-893494BC2A19}"/>
              </a:ext>
            </a:extLst>
          </p:cNvPr>
          <p:cNvSpPr txBox="1"/>
          <p:nvPr/>
        </p:nvSpPr>
        <p:spPr>
          <a:xfrm>
            <a:off x="7742014" y="4025772"/>
            <a:ext cx="937213" cy="4603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900" dirty="0"/>
              <a:t>p</a:t>
            </a:r>
            <a:r>
              <a:rPr lang="en-US" sz="900" dirty="0">
                <a:latin typeface="+mn-lt"/>
              </a:rPr>
              <a:t>osition</a:t>
            </a:r>
          </a:p>
          <a:p>
            <a:pPr>
              <a:lnSpc>
                <a:spcPct val="114000"/>
              </a:lnSpc>
            </a:pPr>
            <a:r>
              <a:rPr lang="en-US" sz="900" dirty="0"/>
              <a:t>velocity</a:t>
            </a:r>
          </a:p>
          <a:p>
            <a:pPr>
              <a:lnSpc>
                <a:spcPct val="114000"/>
              </a:lnSpc>
            </a:pPr>
            <a:r>
              <a:rPr lang="en-US" sz="900" dirty="0"/>
              <a:t>observation status</a:t>
            </a:r>
          </a:p>
        </p:txBody>
      </p:sp>
      <p:pic>
        <p:nvPicPr>
          <p:cNvPr id="33" name="Graphic 32" descr="Cone outline">
            <a:extLst>
              <a:ext uri="{FF2B5EF4-FFF2-40B4-BE49-F238E27FC236}">
                <a16:creationId xmlns:a16="http://schemas.microsoft.com/office/drawing/2014/main" id="{3053CA5D-74BD-3D5F-BA6F-A9B3FFF436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953092">
            <a:off x="2960327" y="4846939"/>
            <a:ext cx="1973699" cy="1973699"/>
          </a:xfrm>
          <a:prstGeom prst="rect">
            <a:avLst/>
          </a:prstGeom>
        </p:spPr>
      </p:pic>
      <p:pic>
        <p:nvPicPr>
          <p:cNvPr id="2" name="Graphic 1" descr="Satellite with solid fill">
            <a:extLst>
              <a:ext uri="{FF2B5EF4-FFF2-40B4-BE49-F238E27FC236}">
                <a16:creationId xmlns:a16="http://schemas.microsoft.com/office/drawing/2014/main" id="{7697B6F2-9D9B-2CD5-C074-5587DCCFFB3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237532" y="5318525"/>
            <a:ext cx="837103" cy="837103"/>
          </a:xfrm>
          <a:prstGeom prst="rect">
            <a:avLst/>
          </a:prstGeom>
        </p:spPr>
      </p:pic>
      <p:pic>
        <p:nvPicPr>
          <p:cNvPr id="5" name="Graphic 4" descr="Satellite with solid fill">
            <a:extLst>
              <a:ext uri="{FF2B5EF4-FFF2-40B4-BE49-F238E27FC236}">
                <a16:creationId xmlns:a16="http://schemas.microsoft.com/office/drawing/2014/main" id="{277AF75E-9C36-0B18-A076-91531B2750E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943879" y="3609465"/>
            <a:ext cx="378832" cy="378832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90C6BF41-F4B1-47AE-2C33-DA8D8E2741DC}"/>
              </a:ext>
            </a:extLst>
          </p:cNvPr>
          <p:cNvGrpSpPr/>
          <p:nvPr/>
        </p:nvGrpSpPr>
        <p:grpSpPr>
          <a:xfrm rot="1932030">
            <a:off x="7030154" y="5028750"/>
            <a:ext cx="374081" cy="387066"/>
            <a:chOff x="3270509" y="5206753"/>
            <a:chExt cx="914400" cy="1044408"/>
          </a:xfrm>
          <a:solidFill>
            <a:schemeClr val="bg2"/>
          </a:solidFill>
        </p:grpSpPr>
        <p:pic>
          <p:nvPicPr>
            <p:cNvPr id="34" name="Graphic 33" descr="Satellite with solid fill">
              <a:extLst>
                <a:ext uri="{FF2B5EF4-FFF2-40B4-BE49-F238E27FC236}">
                  <a16:creationId xmlns:a16="http://schemas.microsoft.com/office/drawing/2014/main" id="{64DA67F4-082A-A928-BA31-E2E5B8D156F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7914539">
              <a:off x="3270509" y="5206753"/>
              <a:ext cx="914400" cy="914400"/>
            </a:xfrm>
            <a:prstGeom prst="rect">
              <a:avLst/>
            </a:prstGeom>
          </p:spPr>
        </p:pic>
        <p:pic>
          <p:nvPicPr>
            <p:cNvPr id="35" name="Graphic 34" descr="Camera with solid fill">
              <a:extLst>
                <a:ext uri="{FF2B5EF4-FFF2-40B4-BE49-F238E27FC236}">
                  <a16:creationId xmlns:a16="http://schemas.microsoft.com/office/drawing/2014/main" id="{DAFAF4C4-9439-0EBC-C0A6-C53032CCF12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9667970">
              <a:off x="3442374" y="5858222"/>
              <a:ext cx="392939" cy="392939"/>
            </a:xfrm>
            <a:prstGeom prst="rect">
              <a:avLst/>
            </a:prstGeom>
          </p:spPr>
        </p:pic>
      </p:grpSp>
      <p:pic>
        <p:nvPicPr>
          <p:cNvPr id="36" name="Graphic 35" descr="Satellite with solid fill">
            <a:extLst>
              <a:ext uri="{FF2B5EF4-FFF2-40B4-BE49-F238E27FC236}">
                <a16:creationId xmlns:a16="http://schemas.microsoft.com/office/drawing/2014/main" id="{B707B274-6A6B-3A52-3AA4-EFC059C8040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330036" y="976676"/>
            <a:ext cx="837103" cy="837103"/>
          </a:xfrm>
          <a:prstGeom prst="rect">
            <a:avLst/>
          </a:prstGeom>
        </p:spPr>
      </p:pic>
      <p:pic>
        <p:nvPicPr>
          <p:cNvPr id="37" name="Graphic 36" descr="Satellite with solid fill">
            <a:extLst>
              <a:ext uri="{FF2B5EF4-FFF2-40B4-BE49-F238E27FC236}">
                <a16:creationId xmlns:a16="http://schemas.microsoft.com/office/drawing/2014/main" id="{A4FAC94E-F313-038A-8F18-13E23E29BDE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976601" y="3624144"/>
            <a:ext cx="366106" cy="366106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611CC34D-A14E-8918-6E4D-07F1436B8E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605" y="994338"/>
            <a:ext cx="5500520" cy="410369"/>
          </a:xfrm>
        </p:spPr>
        <p:txBody>
          <a:bodyPr/>
          <a:lstStyle/>
          <a:p>
            <a:r>
              <a:rPr lang="en-US" dirty="0"/>
              <a:t>Target Monitoring</a:t>
            </a:r>
            <a:endParaRPr lang="en-DE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B44C138-7F25-3910-BE19-9AC3F106F830}"/>
              </a:ext>
            </a:extLst>
          </p:cNvPr>
          <p:cNvSpPr txBox="1"/>
          <p:nvPr/>
        </p:nvSpPr>
        <p:spPr>
          <a:xfrm>
            <a:off x="519932" y="3951864"/>
            <a:ext cx="2157653" cy="13291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800" b="1" dirty="0"/>
              <a:t>The goal is to gather as much information as possib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17FE9A2-AD9E-5827-C3D8-2143C8BDBEB9}"/>
              </a:ext>
            </a:extLst>
          </p:cNvPr>
          <p:cNvSpPr txBox="1"/>
          <p:nvPr/>
        </p:nvSpPr>
        <p:spPr>
          <a:xfrm>
            <a:off x="6664220" y="1228862"/>
            <a:ext cx="4823481" cy="3215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2000" b="1" dirty="0"/>
              <a:t>Input Layer</a:t>
            </a:r>
          </a:p>
        </p:txBody>
      </p:sp>
    </p:spTree>
    <p:extLst>
      <p:ext uri="{BB962C8B-B14F-4D97-AF65-F5344CB8AC3E}">
        <p14:creationId xmlns:p14="http://schemas.microsoft.com/office/powerpoint/2010/main" val="1450240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B0AC32-6D23-A2B6-9B5D-59F18D95CC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395AE92-75C1-FAF7-00A7-3C72BA9BE926}"/>
              </a:ext>
            </a:extLst>
          </p:cNvPr>
          <p:cNvSpPr/>
          <p:nvPr/>
        </p:nvSpPr>
        <p:spPr>
          <a:xfrm>
            <a:off x="693297" y="1555763"/>
            <a:ext cx="2265469" cy="410368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C5E84E-B31F-B714-82F0-C683AEAE3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de-DE">
              <a:cs typeface="Arial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C20BE95-D766-F7CF-F39B-85AC18C761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603" y="994339"/>
            <a:ext cx="11799269" cy="410369"/>
          </a:xfrm>
        </p:spPr>
        <p:txBody>
          <a:bodyPr/>
          <a:lstStyle/>
          <a:p>
            <a:r>
              <a:rPr lang="en-US" sz="3200" dirty="0"/>
              <a:t>Implementing a Neural Network for Agent’s Decision-Making</a:t>
            </a:r>
            <a:endParaRPr lang="en-DE" dirty="0"/>
          </a:p>
        </p:txBody>
      </p:sp>
      <p:sp>
        <p:nvSpPr>
          <p:cNvPr id="43" name="Rectángulo redondeado 5">
            <a:extLst>
              <a:ext uri="{FF2B5EF4-FFF2-40B4-BE49-F238E27FC236}">
                <a16:creationId xmlns:a16="http://schemas.microsoft.com/office/drawing/2014/main" id="{BEF54680-3E50-47B3-92B3-30B708325632}"/>
              </a:ext>
            </a:extLst>
          </p:cNvPr>
          <p:cNvSpPr/>
          <p:nvPr/>
        </p:nvSpPr>
        <p:spPr>
          <a:xfrm>
            <a:off x="8546287" y="2354610"/>
            <a:ext cx="3023758" cy="893430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GB" b="1" dirty="0"/>
              <a:t>IDLE</a:t>
            </a:r>
          </a:p>
          <a:p>
            <a:pPr algn="ctr">
              <a:lnSpc>
                <a:spcPct val="114000"/>
              </a:lnSpc>
            </a:pPr>
            <a:r>
              <a:rPr lang="en-GB" dirty="0"/>
              <a:t>7.5 W</a:t>
            </a:r>
          </a:p>
        </p:txBody>
      </p:sp>
      <p:sp>
        <p:nvSpPr>
          <p:cNvPr id="45" name="Rectángulo redondeado 5">
            <a:extLst>
              <a:ext uri="{FF2B5EF4-FFF2-40B4-BE49-F238E27FC236}">
                <a16:creationId xmlns:a16="http://schemas.microsoft.com/office/drawing/2014/main" id="{D4E5178F-0EE3-419F-3E33-6EC9A814498A}"/>
              </a:ext>
            </a:extLst>
          </p:cNvPr>
          <p:cNvSpPr/>
          <p:nvPr/>
        </p:nvSpPr>
        <p:spPr>
          <a:xfrm>
            <a:off x="8546287" y="3645197"/>
            <a:ext cx="3023758" cy="1131249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GB" b="1" dirty="0"/>
              <a:t>COMMUNICATE</a:t>
            </a:r>
          </a:p>
          <a:p>
            <a:pPr algn="ctr">
              <a:lnSpc>
                <a:spcPct val="114000"/>
              </a:lnSpc>
            </a:pPr>
            <a:r>
              <a:rPr lang="en-GB" dirty="0"/>
              <a:t>9 W</a:t>
            </a:r>
          </a:p>
          <a:p>
            <a:pPr algn="ctr">
              <a:lnSpc>
                <a:spcPct val="114000"/>
              </a:lnSpc>
            </a:pPr>
            <a:r>
              <a:rPr lang="en-GB" dirty="0"/>
              <a:t>Omnidirectional</a:t>
            </a:r>
          </a:p>
        </p:txBody>
      </p:sp>
      <p:sp>
        <p:nvSpPr>
          <p:cNvPr id="46" name="Rectángulo redondeado 5">
            <a:extLst>
              <a:ext uri="{FF2B5EF4-FFF2-40B4-BE49-F238E27FC236}">
                <a16:creationId xmlns:a16="http://schemas.microsoft.com/office/drawing/2014/main" id="{13BD217B-F438-B5F8-6C48-204FA4628579}"/>
              </a:ext>
            </a:extLst>
          </p:cNvPr>
          <p:cNvSpPr/>
          <p:nvPr/>
        </p:nvSpPr>
        <p:spPr>
          <a:xfrm>
            <a:off x="8546287" y="5153226"/>
            <a:ext cx="3023758" cy="149061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en-GB" b="1" dirty="0"/>
              <a:t>PAYLOAD (OBSERVE)</a:t>
            </a:r>
          </a:p>
          <a:p>
            <a:pPr algn="ctr">
              <a:lnSpc>
                <a:spcPct val="114000"/>
              </a:lnSpc>
            </a:pPr>
            <a:r>
              <a:rPr lang="en-GB" dirty="0"/>
              <a:t>19 W</a:t>
            </a:r>
          </a:p>
          <a:p>
            <a:pPr algn="ctr">
              <a:lnSpc>
                <a:spcPct val="114000"/>
              </a:lnSpc>
            </a:pPr>
            <a:r>
              <a:rPr lang="en-GB" dirty="0"/>
              <a:t>1 Mbit per second of storage</a:t>
            </a:r>
          </a:p>
          <a:p>
            <a:pPr algn="ctr">
              <a:lnSpc>
                <a:spcPct val="114000"/>
              </a:lnSpc>
            </a:pPr>
            <a:endParaRPr lang="en-GB" dirty="0"/>
          </a:p>
          <a:p>
            <a:pPr algn="ctr">
              <a:lnSpc>
                <a:spcPct val="114000"/>
              </a:lnSpc>
            </a:pPr>
            <a:endParaRPr lang="en-GB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83109AF3-694F-BE8E-DF80-9A7DACF83440}"/>
              </a:ext>
            </a:extLst>
          </p:cNvPr>
          <p:cNvSpPr>
            <a:spLocks noChangeAspect="1"/>
          </p:cNvSpPr>
          <p:nvPr/>
        </p:nvSpPr>
        <p:spPr>
          <a:xfrm>
            <a:off x="6342720" y="2757920"/>
            <a:ext cx="360000" cy="36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7FFF30CD-7108-BB95-D5D5-A8C08216413A}"/>
              </a:ext>
            </a:extLst>
          </p:cNvPr>
          <p:cNvSpPr>
            <a:spLocks noChangeAspect="1"/>
          </p:cNvSpPr>
          <p:nvPr/>
        </p:nvSpPr>
        <p:spPr>
          <a:xfrm>
            <a:off x="6342720" y="3286748"/>
            <a:ext cx="360000" cy="36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6FF6380-395F-4975-0B0F-5F5D1DD702FC}"/>
              </a:ext>
            </a:extLst>
          </p:cNvPr>
          <p:cNvSpPr>
            <a:spLocks noChangeAspect="1"/>
          </p:cNvSpPr>
          <p:nvPr/>
        </p:nvSpPr>
        <p:spPr>
          <a:xfrm>
            <a:off x="6342720" y="3815574"/>
            <a:ext cx="360000" cy="36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3C44FFA-A04E-7AD6-F5AB-B277B2750ABA}"/>
              </a:ext>
            </a:extLst>
          </p:cNvPr>
          <p:cNvSpPr>
            <a:spLocks noChangeAspect="1"/>
          </p:cNvSpPr>
          <p:nvPr/>
        </p:nvSpPr>
        <p:spPr>
          <a:xfrm>
            <a:off x="6342720" y="4344400"/>
            <a:ext cx="360000" cy="36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FBB578E-CD5D-8D31-C306-3B7A1C20AB2C}"/>
              </a:ext>
            </a:extLst>
          </p:cNvPr>
          <p:cNvSpPr>
            <a:spLocks noChangeAspect="1"/>
          </p:cNvSpPr>
          <p:nvPr/>
        </p:nvSpPr>
        <p:spPr>
          <a:xfrm>
            <a:off x="6342720" y="4873226"/>
            <a:ext cx="360000" cy="36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982A0A9-7B69-83CF-0EC2-03971D06715B}"/>
              </a:ext>
            </a:extLst>
          </p:cNvPr>
          <p:cNvSpPr>
            <a:spLocks noChangeAspect="1"/>
          </p:cNvSpPr>
          <p:nvPr/>
        </p:nvSpPr>
        <p:spPr>
          <a:xfrm>
            <a:off x="6342720" y="5402052"/>
            <a:ext cx="360000" cy="36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30E6E81-8D19-69A3-AF35-FDD13F75F883}"/>
              </a:ext>
            </a:extLst>
          </p:cNvPr>
          <p:cNvSpPr>
            <a:spLocks noChangeAspect="1"/>
          </p:cNvSpPr>
          <p:nvPr/>
        </p:nvSpPr>
        <p:spPr>
          <a:xfrm>
            <a:off x="4708147" y="2757922"/>
            <a:ext cx="360000" cy="36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1B88698-4AB9-5DB3-51A9-D6321CB331B2}"/>
              </a:ext>
            </a:extLst>
          </p:cNvPr>
          <p:cNvSpPr>
            <a:spLocks noChangeAspect="1"/>
          </p:cNvSpPr>
          <p:nvPr/>
        </p:nvSpPr>
        <p:spPr>
          <a:xfrm>
            <a:off x="4708147" y="3286748"/>
            <a:ext cx="360000" cy="36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CAA44F1-59AC-234B-862F-DA84A74481B6}"/>
              </a:ext>
            </a:extLst>
          </p:cNvPr>
          <p:cNvSpPr>
            <a:spLocks noChangeAspect="1"/>
          </p:cNvSpPr>
          <p:nvPr/>
        </p:nvSpPr>
        <p:spPr>
          <a:xfrm>
            <a:off x="4708147" y="3815574"/>
            <a:ext cx="360000" cy="36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288F9F6-39D2-7018-68F3-FBCDB9957F30}"/>
              </a:ext>
            </a:extLst>
          </p:cNvPr>
          <p:cNvSpPr>
            <a:spLocks noChangeAspect="1"/>
          </p:cNvSpPr>
          <p:nvPr/>
        </p:nvSpPr>
        <p:spPr>
          <a:xfrm>
            <a:off x="4708147" y="4344400"/>
            <a:ext cx="360000" cy="36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C57E67C8-305C-29DF-BF03-8673B7883AD0}"/>
              </a:ext>
            </a:extLst>
          </p:cNvPr>
          <p:cNvSpPr>
            <a:spLocks noChangeAspect="1"/>
          </p:cNvSpPr>
          <p:nvPr/>
        </p:nvSpPr>
        <p:spPr>
          <a:xfrm>
            <a:off x="4708147" y="4873226"/>
            <a:ext cx="360000" cy="36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121FE5B-8688-92A2-D9A6-940ED052C7C6}"/>
              </a:ext>
            </a:extLst>
          </p:cNvPr>
          <p:cNvSpPr>
            <a:spLocks noChangeAspect="1"/>
          </p:cNvSpPr>
          <p:nvPr/>
        </p:nvSpPr>
        <p:spPr>
          <a:xfrm>
            <a:off x="4708147" y="5402054"/>
            <a:ext cx="360000" cy="36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9F7C962-9FF4-795E-1C20-D93D5A50F787}"/>
              </a:ext>
            </a:extLst>
          </p:cNvPr>
          <p:cNvCxnSpPr>
            <a:stCxn id="16" idx="6"/>
            <a:endCxn id="2" idx="2"/>
          </p:cNvCxnSpPr>
          <p:nvPr/>
        </p:nvCxnSpPr>
        <p:spPr>
          <a:xfrm flipV="1">
            <a:off x="5068147" y="2937920"/>
            <a:ext cx="1274573" cy="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E8303D9-CEC3-8A2F-5E11-BA3839B8747C}"/>
              </a:ext>
            </a:extLst>
          </p:cNvPr>
          <p:cNvCxnSpPr>
            <a:cxnSpLocks/>
            <a:stCxn id="16" idx="6"/>
            <a:endCxn id="3" idx="2"/>
          </p:cNvCxnSpPr>
          <p:nvPr/>
        </p:nvCxnSpPr>
        <p:spPr>
          <a:xfrm>
            <a:off x="5068147" y="2937922"/>
            <a:ext cx="1274573" cy="5288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924A09D6-3D19-7725-40AE-56C9F5311917}"/>
              </a:ext>
            </a:extLst>
          </p:cNvPr>
          <p:cNvCxnSpPr>
            <a:stCxn id="16" idx="6"/>
            <a:endCxn id="5" idx="2"/>
          </p:cNvCxnSpPr>
          <p:nvPr/>
        </p:nvCxnSpPr>
        <p:spPr>
          <a:xfrm>
            <a:off x="5068147" y="2937922"/>
            <a:ext cx="1274573" cy="10576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30C2121A-FEE1-E944-C8A9-C63018FF1D13}"/>
              </a:ext>
            </a:extLst>
          </p:cNvPr>
          <p:cNvCxnSpPr>
            <a:stCxn id="16" idx="6"/>
            <a:endCxn id="6" idx="2"/>
          </p:cNvCxnSpPr>
          <p:nvPr/>
        </p:nvCxnSpPr>
        <p:spPr>
          <a:xfrm>
            <a:off x="5068147" y="2937922"/>
            <a:ext cx="1274573" cy="15864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2F07CF1E-36F7-EFC5-82EE-F34EED8862CA}"/>
              </a:ext>
            </a:extLst>
          </p:cNvPr>
          <p:cNvCxnSpPr>
            <a:stCxn id="16" idx="6"/>
            <a:endCxn id="7" idx="2"/>
          </p:cNvCxnSpPr>
          <p:nvPr/>
        </p:nvCxnSpPr>
        <p:spPr>
          <a:xfrm>
            <a:off x="5068147" y="2937922"/>
            <a:ext cx="1274573" cy="21153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985A5E3C-7DEE-D76B-5EAF-E61725304710}"/>
              </a:ext>
            </a:extLst>
          </p:cNvPr>
          <p:cNvCxnSpPr>
            <a:stCxn id="16" idx="6"/>
            <a:endCxn id="9" idx="2"/>
          </p:cNvCxnSpPr>
          <p:nvPr/>
        </p:nvCxnSpPr>
        <p:spPr>
          <a:xfrm>
            <a:off x="5068147" y="2937922"/>
            <a:ext cx="1274573" cy="26441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448663E0-D70A-51F4-3E22-7282A9A497D5}"/>
              </a:ext>
            </a:extLst>
          </p:cNvPr>
          <p:cNvCxnSpPr>
            <a:stCxn id="17" idx="6"/>
            <a:endCxn id="2" idx="2"/>
          </p:cNvCxnSpPr>
          <p:nvPr/>
        </p:nvCxnSpPr>
        <p:spPr>
          <a:xfrm flipV="1">
            <a:off x="5068147" y="2937920"/>
            <a:ext cx="1274573" cy="5288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7A4A83E2-1E09-17C5-CDB1-3E19536A03D7}"/>
              </a:ext>
            </a:extLst>
          </p:cNvPr>
          <p:cNvCxnSpPr>
            <a:stCxn id="17" idx="6"/>
            <a:endCxn id="3" idx="2"/>
          </p:cNvCxnSpPr>
          <p:nvPr/>
        </p:nvCxnSpPr>
        <p:spPr>
          <a:xfrm>
            <a:off x="5068147" y="3466748"/>
            <a:ext cx="12745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4753242B-3A4B-C4AD-2813-396EF87BC1C5}"/>
              </a:ext>
            </a:extLst>
          </p:cNvPr>
          <p:cNvCxnSpPr>
            <a:stCxn id="17" idx="6"/>
            <a:endCxn id="5" idx="2"/>
          </p:cNvCxnSpPr>
          <p:nvPr/>
        </p:nvCxnSpPr>
        <p:spPr>
          <a:xfrm>
            <a:off x="5068147" y="3466748"/>
            <a:ext cx="1274573" cy="5288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EE9957BB-C5BF-69BD-8CE9-4ABF45773D1A}"/>
              </a:ext>
            </a:extLst>
          </p:cNvPr>
          <p:cNvCxnSpPr>
            <a:stCxn id="17" idx="6"/>
            <a:endCxn id="6" idx="2"/>
          </p:cNvCxnSpPr>
          <p:nvPr/>
        </p:nvCxnSpPr>
        <p:spPr>
          <a:xfrm>
            <a:off x="5068147" y="3466748"/>
            <a:ext cx="1274573" cy="10576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BEEC41DC-7821-DFA0-30E2-CC9F9D7F5AD9}"/>
              </a:ext>
            </a:extLst>
          </p:cNvPr>
          <p:cNvCxnSpPr>
            <a:stCxn id="17" idx="6"/>
            <a:endCxn id="7" idx="2"/>
          </p:cNvCxnSpPr>
          <p:nvPr/>
        </p:nvCxnSpPr>
        <p:spPr>
          <a:xfrm>
            <a:off x="5068147" y="3466748"/>
            <a:ext cx="1274573" cy="15864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84A02343-66E6-3473-51C0-115ECA028ED0}"/>
              </a:ext>
            </a:extLst>
          </p:cNvPr>
          <p:cNvCxnSpPr>
            <a:stCxn id="17" idx="6"/>
            <a:endCxn id="9" idx="2"/>
          </p:cNvCxnSpPr>
          <p:nvPr/>
        </p:nvCxnSpPr>
        <p:spPr>
          <a:xfrm>
            <a:off x="5068147" y="3466748"/>
            <a:ext cx="1274573" cy="21153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73A794D4-5416-536F-FF0A-C8DF1EC30D65}"/>
              </a:ext>
            </a:extLst>
          </p:cNvPr>
          <p:cNvCxnSpPr>
            <a:stCxn id="18" idx="6"/>
            <a:endCxn id="2" idx="2"/>
          </p:cNvCxnSpPr>
          <p:nvPr/>
        </p:nvCxnSpPr>
        <p:spPr>
          <a:xfrm flipV="1">
            <a:off x="5068147" y="2937920"/>
            <a:ext cx="1274573" cy="10576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18913844-7238-8359-732F-96EE7E482C0C}"/>
              </a:ext>
            </a:extLst>
          </p:cNvPr>
          <p:cNvCxnSpPr>
            <a:stCxn id="18" idx="6"/>
            <a:endCxn id="3" idx="2"/>
          </p:cNvCxnSpPr>
          <p:nvPr/>
        </p:nvCxnSpPr>
        <p:spPr>
          <a:xfrm flipV="1">
            <a:off x="5068147" y="3466748"/>
            <a:ext cx="1274573" cy="5288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6A8AE457-874C-965F-0DF2-8B4D1BB325A6}"/>
              </a:ext>
            </a:extLst>
          </p:cNvPr>
          <p:cNvCxnSpPr>
            <a:stCxn id="18" idx="6"/>
            <a:endCxn id="5" idx="2"/>
          </p:cNvCxnSpPr>
          <p:nvPr/>
        </p:nvCxnSpPr>
        <p:spPr>
          <a:xfrm>
            <a:off x="5068147" y="3995574"/>
            <a:ext cx="12745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2CFCF9A9-2A60-CAB9-8593-B8AA27255C21}"/>
              </a:ext>
            </a:extLst>
          </p:cNvPr>
          <p:cNvCxnSpPr>
            <a:stCxn id="18" idx="6"/>
            <a:endCxn id="6" idx="2"/>
          </p:cNvCxnSpPr>
          <p:nvPr/>
        </p:nvCxnSpPr>
        <p:spPr>
          <a:xfrm>
            <a:off x="5068147" y="3995574"/>
            <a:ext cx="1274573" cy="5288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5D871072-5980-FA26-90DA-17ADFB5A32D0}"/>
              </a:ext>
            </a:extLst>
          </p:cNvPr>
          <p:cNvCxnSpPr>
            <a:stCxn id="18" idx="6"/>
            <a:endCxn id="7" idx="2"/>
          </p:cNvCxnSpPr>
          <p:nvPr/>
        </p:nvCxnSpPr>
        <p:spPr>
          <a:xfrm>
            <a:off x="5068147" y="3995574"/>
            <a:ext cx="1274573" cy="10576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0E3609F9-427B-730F-4E92-845AC86DFAD5}"/>
              </a:ext>
            </a:extLst>
          </p:cNvPr>
          <p:cNvCxnSpPr>
            <a:stCxn id="18" idx="6"/>
            <a:endCxn id="9" idx="2"/>
          </p:cNvCxnSpPr>
          <p:nvPr/>
        </p:nvCxnSpPr>
        <p:spPr>
          <a:xfrm>
            <a:off x="5068147" y="3995574"/>
            <a:ext cx="1274573" cy="15864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0E29A392-E36F-DA7A-5574-C90197E40950}"/>
              </a:ext>
            </a:extLst>
          </p:cNvPr>
          <p:cNvCxnSpPr>
            <a:cxnSpLocks/>
            <a:stCxn id="19" idx="6"/>
            <a:endCxn id="2" idx="2"/>
          </p:cNvCxnSpPr>
          <p:nvPr/>
        </p:nvCxnSpPr>
        <p:spPr>
          <a:xfrm flipV="1">
            <a:off x="5068147" y="2937920"/>
            <a:ext cx="1274573" cy="15864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71FC4C9D-3532-E9E8-E43E-A4E41214646F}"/>
              </a:ext>
            </a:extLst>
          </p:cNvPr>
          <p:cNvCxnSpPr>
            <a:stCxn id="19" idx="6"/>
            <a:endCxn id="3" idx="2"/>
          </p:cNvCxnSpPr>
          <p:nvPr/>
        </p:nvCxnSpPr>
        <p:spPr>
          <a:xfrm flipV="1">
            <a:off x="5068147" y="3466748"/>
            <a:ext cx="1274573" cy="10576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A04E0826-E0C5-004D-1F4E-8AECB96ED96B}"/>
              </a:ext>
            </a:extLst>
          </p:cNvPr>
          <p:cNvCxnSpPr>
            <a:endCxn id="5" idx="2"/>
          </p:cNvCxnSpPr>
          <p:nvPr/>
        </p:nvCxnSpPr>
        <p:spPr>
          <a:xfrm flipV="1">
            <a:off x="5068147" y="3995574"/>
            <a:ext cx="1274573" cy="5288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6613D92F-9AFB-7BD7-F7C1-073A3F53F610}"/>
              </a:ext>
            </a:extLst>
          </p:cNvPr>
          <p:cNvCxnSpPr>
            <a:stCxn id="19" idx="6"/>
            <a:endCxn id="6" idx="2"/>
          </p:cNvCxnSpPr>
          <p:nvPr/>
        </p:nvCxnSpPr>
        <p:spPr>
          <a:xfrm>
            <a:off x="5068147" y="4524400"/>
            <a:ext cx="12745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BDC26FEB-0488-9377-99FF-33E77BA28C09}"/>
              </a:ext>
            </a:extLst>
          </p:cNvPr>
          <p:cNvCxnSpPr>
            <a:stCxn id="19" idx="6"/>
            <a:endCxn id="7" idx="2"/>
          </p:cNvCxnSpPr>
          <p:nvPr/>
        </p:nvCxnSpPr>
        <p:spPr>
          <a:xfrm>
            <a:off x="5068147" y="4524400"/>
            <a:ext cx="1274573" cy="5288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05A6B8A1-DCC9-AB18-35DF-965408638FCF}"/>
              </a:ext>
            </a:extLst>
          </p:cNvPr>
          <p:cNvCxnSpPr>
            <a:stCxn id="19" idx="6"/>
            <a:endCxn id="9" idx="2"/>
          </p:cNvCxnSpPr>
          <p:nvPr/>
        </p:nvCxnSpPr>
        <p:spPr>
          <a:xfrm>
            <a:off x="5068147" y="4524400"/>
            <a:ext cx="1274573" cy="10576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3611BC8A-9411-5F76-23B6-0A3869AC16CC}"/>
              </a:ext>
            </a:extLst>
          </p:cNvPr>
          <p:cNvCxnSpPr>
            <a:stCxn id="20" idx="6"/>
            <a:endCxn id="2" idx="2"/>
          </p:cNvCxnSpPr>
          <p:nvPr/>
        </p:nvCxnSpPr>
        <p:spPr>
          <a:xfrm flipV="1">
            <a:off x="5068147" y="2937920"/>
            <a:ext cx="1274573" cy="21153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B69E048C-1B0C-0813-08BD-25B54F5AC0F8}"/>
              </a:ext>
            </a:extLst>
          </p:cNvPr>
          <p:cNvCxnSpPr>
            <a:stCxn id="20" idx="6"/>
            <a:endCxn id="3" idx="2"/>
          </p:cNvCxnSpPr>
          <p:nvPr/>
        </p:nvCxnSpPr>
        <p:spPr>
          <a:xfrm flipV="1">
            <a:off x="5068147" y="3466748"/>
            <a:ext cx="1274573" cy="15864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BA040A88-E00E-3031-6D4C-B7C893DED96B}"/>
              </a:ext>
            </a:extLst>
          </p:cNvPr>
          <p:cNvCxnSpPr>
            <a:stCxn id="20" idx="6"/>
            <a:endCxn id="5" idx="2"/>
          </p:cNvCxnSpPr>
          <p:nvPr/>
        </p:nvCxnSpPr>
        <p:spPr>
          <a:xfrm flipV="1">
            <a:off x="5068147" y="3995574"/>
            <a:ext cx="1274573" cy="10576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704ED20B-C73B-7A53-E20D-E0036EE9160B}"/>
              </a:ext>
            </a:extLst>
          </p:cNvPr>
          <p:cNvCxnSpPr>
            <a:stCxn id="20" idx="6"/>
            <a:endCxn id="6" idx="2"/>
          </p:cNvCxnSpPr>
          <p:nvPr/>
        </p:nvCxnSpPr>
        <p:spPr>
          <a:xfrm flipV="1">
            <a:off x="5068147" y="4524400"/>
            <a:ext cx="1274573" cy="5288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BB84A9CC-1678-AF87-FA43-1B4FA8DE9144}"/>
              </a:ext>
            </a:extLst>
          </p:cNvPr>
          <p:cNvCxnSpPr>
            <a:stCxn id="20" idx="6"/>
            <a:endCxn id="7" idx="2"/>
          </p:cNvCxnSpPr>
          <p:nvPr/>
        </p:nvCxnSpPr>
        <p:spPr>
          <a:xfrm>
            <a:off x="5068147" y="5053226"/>
            <a:ext cx="12745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43B54ABD-0343-92C5-C7CE-8EB92A8FD84F}"/>
              </a:ext>
            </a:extLst>
          </p:cNvPr>
          <p:cNvCxnSpPr>
            <a:stCxn id="20" idx="6"/>
            <a:endCxn id="9" idx="2"/>
          </p:cNvCxnSpPr>
          <p:nvPr/>
        </p:nvCxnSpPr>
        <p:spPr>
          <a:xfrm>
            <a:off x="5068147" y="5053226"/>
            <a:ext cx="1274573" cy="5288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EDED590F-68D3-5041-2F31-6C9CE0B1E660}"/>
              </a:ext>
            </a:extLst>
          </p:cNvPr>
          <p:cNvCxnSpPr>
            <a:stCxn id="21" idx="6"/>
            <a:endCxn id="2" idx="2"/>
          </p:cNvCxnSpPr>
          <p:nvPr/>
        </p:nvCxnSpPr>
        <p:spPr>
          <a:xfrm flipV="1">
            <a:off x="5068147" y="2937920"/>
            <a:ext cx="1274573" cy="26441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227FDC78-BC57-D428-CA22-F802A275C40C}"/>
              </a:ext>
            </a:extLst>
          </p:cNvPr>
          <p:cNvCxnSpPr>
            <a:stCxn id="2" idx="6"/>
            <a:endCxn id="43" idx="1"/>
          </p:cNvCxnSpPr>
          <p:nvPr/>
        </p:nvCxnSpPr>
        <p:spPr>
          <a:xfrm flipV="1">
            <a:off x="6702720" y="2801325"/>
            <a:ext cx="1843567" cy="1365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3843F185-EA96-EFCA-FE1D-34F547AAAF5E}"/>
              </a:ext>
            </a:extLst>
          </p:cNvPr>
          <p:cNvCxnSpPr>
            <a:cxnSpLocks/>
            <a:stCxn id="2" idx="6"/>
            <a:endCxn id="45" idx="1"/>
          </p:cNvCxnSpPr>
          <p:nvPr/>
        </p:nvCxnSpPr>
        <p:spPr>
          <a:xfrm>
            <a:off x="6702720" y="2937920"/>
            <a:ext cx="1843567" cy="12729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31F7D8AC-F59E-6354-CA4E-D0A9B59ED586}"/>
              </a:ext>
            </a:extLst>
          </p:cNvPr>
          <p:cNvCxnSpPr>
            <a:cxnSpLocks/>
            <a:stCxn id="2" idx="6"/>
            <a:endCxn id="46" idx="1"/>
          </p:cNvCxnSpPr>
          <p:nvPr/>
        </p:nvCxnSpPr>
        <p:spPr>
          <a:xfrm>
            <a:off x="6702720" y="2937920"/>
            <a:ext cx="1843567" cy="29606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Box 97">
            <a:extLst>
              <a:ext uri="{FF2B5EF4-FFF2-40B4-BE49-F238E27FC236}">
                <a16:creationId xmlns:a16="http://schemas.microsoft.com/office/drawing/2014/main" id="{E4FE3B70-4030-B3E2-DB28-F53A138DB6A0}"/>
              </a:ext>
            </a:extLst>
          </p:cNvPr>
          <p:cNvSpPr txBox="1"/>
          <p:nvPr/>
        </p:nvSpPr>
        <p:spPr>
          <a:xfrm>
            <a:off x="9025656" y="1561859"/>
            <a:ext cx="2065020" cy="6724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2000" b="1" dirty="0">
                <a:latin typeface="+mn-lt"/>
              </a:rPr>
              <a:t>Output Layer</a:t>
            </a:r>
          </a:p>
          <a:p>
            <a:pPr algn="ctr">
              <a:lnSpc>
                <a:spcPct val="114000"/>
              </a:lnSpc>
            </a:pPr>
            <a:r>
              <a:rPr lang="en-US" sz="2000" dirty="0"/>
              <a:t>3 nodes</a:t>
            </a:r>
            <a:endParaRPr lang="en-DE" sz="2000" dirty="0" err="1">
              <a:latin typeface="+mn-lt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C007DFA1-A43D-C09F-C250-DEF01B549F31}"/>
              </a:ext>
            </a:extLst>
          </p:cNvPr>
          <p:cNvSpPr txBox="1"/>
          <p:nvPr/>
        </p:nvSpPr>
        <p:spPr>
          <a:xfrm>
            <a:off x="4646997" y="1579811"/>
            <a:ext cx="2065020" cy="10232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2000" b="1" dirty="0">
                <a:latin typeface="+mn-lt"/>
              </a:rPr>
              <a:t>Hidden Layers</a:t>
            </a:r>
          </a:p>
          <a:p>
            <a:pPr algn="ctr">
              <a:lnSpc>
                <a:spcPct val="114000"/>
              </a:lnSpc>
            </a:pPr>
            <a:r>
              <a:rPr lang="en-US" sz="2000" dirty="0"/>
              <a:t>256x256 nodes</a:t>
            </a:r>
            <a:endParaRPr lang="en-DE" sz="2000" dirty="0"/>
          </a:p>
          <a:p>
            <a:pPr>
              <a:lnSpc>
                <a:spcPct val="114000"/>
              </a:lnSpc>
            </a:pPr>
            <a:endParaRPr lang="en-DE" sz="2000" b="1" dirty="0" err="1">
              <a:latin typeface="+mn-lt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6DEFD23E-2FA3-9B7E-FB29-7CE6D4CD08A2}"/>
              </a:ext>
            </a:extLst>
          </p:cNvPr>
          <p:cNvSpPr txBox="1"/>
          <p:nvPr/>
        </p:nvSpPr>
        <p:spPr>
          <a:xfrm>
            <a:off x="861740" y="1575564"/>
            <a:ext cx="1928584" cy="6724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2000" b="1" dirty="0">
                <a:latin typeface="+mn-lt"/>
              </a:rPr>
              <a:t>Input Layer</a:t>
            </a:r>
            <a:endParaRPr lang="en-US" sz="2000" b="1" dirty="0"/>
          </a:p>
          <a:p>
            <a:pPr algn="ctr">
              <a:lnSpc>
                <a:spcPct val="114000"/>
              </a:lnSpc>
            </a:pPr>
            <a:r>
              <a:rPr lang="en-US" sz="2000" dirty="0">
                <a:latin typeface="+mn-lt"/>
              </a:rPr>
              <a:t>~3000 nodes</a:t>
            </a:r>
          </a:p>
        </p:txBody>
      </p: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196B6E01-4F56-7DEE-DE9A-B9F4B4BA9C46}"/>
              </a:ext>
            </a:extLst>
          </p:cNvPr>
          <p:cNvCxnSpPr>
            <a:stCxn id="21" idx="6"/>
            <a:endCxn id="3" idx="2"/>
          </p:cNvCxnSpPr>
          <p:nvPr/>
        </p:nvCxnSpPr>
        <p:spPr>
          <a:xfrm flipV="1">
            <a:off x="5068147" y="3466748"/>
            <a:ext cx="1274573" cy="21153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29058D6F-C8E0-0FC3-138C-59EF81D24C23}"/>
              </a:ext>
            </a:extLst>
          </p:cNvPr>
          <p:cNvCxnSpPr>
            <a:stCxn id="21" idx="6"/>
            <a:endCxn id="5" idx="2"/>
          </p:cNvCxnSpPr>
          <p:nvPr/>
        </p:nvCxnSpPr>
        <p:spPr>
          <a:xfrm flipV="1">
            <a:off x="5068147" y="3995574"/>
            <a:ext cx="1274573" cy="15864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EA3417D4-BF58-E68F-9966-14730B099704}"/>
              </a:ext>
            </a:extLst>
          </p:cNvPr>
          <p:cNvCxnSpPr>
            <a:stCxn id="21" idx="6"/>
            <a:endCxn id="6" idx="2"/>
          </p:cNvCxnSpPr>
          <p:nvPr/>
        </p:nvCxnSpPr>
        <p:spPr>
          <a:xfrm flipV="1">
            <a:off x="5068147" y="4524400"/>
            <a:ext cx="1274573" cy="10576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3DFFC417-869E-F075-50D7-3EE21116A6D0}"/>
              </a:ext>
            </a:extLst>
          </p:cNvPr>
          <p:cNvCxnSpPr>
            <a:stCxn id="21" idx="6"/>
            <a:endCxn id="7" idx="2"/>
          </p:cNvCxnSpPr>
          <p:nvPr/>
        </p:nvCxnSpPr>
        <p:spPr>
          <a:xfrm flipV="1">
            <a:off x="5068147" y="5053226"/>
            <a:ext cx="1274573" cy="5288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CE627052-932B-D982-CF63-1BA164F0116C}"/>
              </a:ext>
            </a:extLst>
          </p:cNvPr>
          <p:cNvCxnSpPr>
            <a:stCxn id="21" idx="6"/>
            <a:endCxn id="9" idx="2"/>
          </p:cNvCxnSpPr>
          <p:nvPr/>
        </p:nvCxnSpPr>
        <p:spPr>
          <a:xfrm flipV="1">
            <a:off x="5068147" y="5582052"/>
            <a:ext cx="1274573" cy="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3F1CA9ED-8714-BA89-7E37-537381EF8FB9}"/>
              </a:ext>
            </a:extLst>
          </p:cNvPr>
          <p:cNvCxnSpPr>
            <a:stCxn id="3" idx="6"/>
            <a:endCxn id="43" idx="1"/>
          </p:cNvCxnSpPr>
          <p:nvPr/>
        </p:nvCxnSpPr>
        <p:spPr>
          <a:xfrm flipV="1">
            <a:off x="6702720" y="2801325"/>
            <a:ext cx="1843567" cy="6654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4B0E0160-11DC-BB55-F59A-9E250F68BA58}"/>
              </a:ext>
            </a:extLst>
          </p:cNvPr>
          <p:cNvCxnSpPr>
            <a:cxnSpLocks/>
            <a:stCxn id="3" idx="6"/>
            <a:endCxn id="45" idx="1"/>
          </p:cNvCxnSpPr>
          <p:nvPr/>
        </p:nvCxnSpPr>
        <p:spPr>
          <a:xfrm>
            <a:off x="6702720" y="3466748"/>
            <a:ext cx="1843567" cy="7440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Arrow Connector 122">
            <a:extLst>
              <a:ext uri="{FF2B5EF4-FFF2-40B4-BE49-F238E27FC236}">
                <a16:creationId xmlns:a16="http://schemas.microsoft.com/office/drawing/2014/main" id="{37466B01-7589-EA40-86EE-7878F2145A88}"/>
              </a:ext>
            </a:extLst>
          </p:cNvPr>
          <p:cNvCxnSpPr>
            <a:cxnSpLocks/>
            <a:stCxn id="3" idx="6"/>
            <a:endCxn id="46" idx="1"/>
          </p:cNvCxnSpPr>
          <p:nvPr/>
        </p:nvCxnSpPr>
        <p:spPr>
          <a:xfrm>
            <a:off x="6702720" y="3466748"/>
            <a:ext cx="1843567" cy="24317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Arrow Connector 124">
            <a:extLst>
              <a:ext uri="{FF2B5EF4-FFF2-40B4-BE49-F238E27FC236}">
                <a16:creationId xmlns:a16="http://schemas.microsoft.com/office/drawing/2014/main" id="{42D743D5-FF04-D281-4377-5B4CE7DEC983}"/>
              </a:ext>
            </a:extLst>
          </p:cNvPr>
          <p:cNvCxnSpPr>
            <a:stCxn id="5" idx="6"/>
            <a:endCxn id="43" idx="1"/>
          </p:cNvCxnSpPr>
          <p:nvPr/>
        </p:nvCxnSpPr>
        <p:spPr>
          <a:xfrm flipV="1">
            <a:off x="6702720" y="2801325"/>
            <a:ext cx="1843567" cy="11942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63C87B02-22E1-9793-13C0-F9F8A149E8F5}"/>
              </a:ext>
            </a:extLst>
          </p:cNvPr>
          <p:cNvCxnSpPr>
            <a:cxnSpLocks/>
            <a:stCxn id="5" idx="6"/>
            <a:endCxn id="45" idx="1"/>
          </p:cNvCxnSpPr>
          <p:nvPr/>
        </p:nvCxnSpPr>
        <p:spPr>
          <a:xfrm>
            <a:off x="6702720" y="3995574"/>
            <a:ext cx="1843567" cy="2152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3E8C5338-9426-6F65-69BF-648E79171AFB}"/>
              </a:ext>
            </a:extLst>
          </p:cNvPr>
          <p:cNvCxnSpPr>
            <a:cxnSpLocks/>
            <a:stCxn id="5" idx="6"/>
            <a:endCxn id="46" idx="1"/>
          </p:cNvCxnSpPr>
          <p:nvPr/>
        </p:nvCxnSpPr>
        <p:spPr>
          <a:xfrm>
            <a:off x="6702720" y="3995574"/>
            <a:ext cx="1843567" cy="19029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10901637-0BB3-0895-016E-29BB955655AD}"/>
              </a:ext>
            </a:extLst>
          </p:cNvPr>
          <p:cNvCxnSpPr>
            <a:stCxn id="6" idx="6"/>
            <a:endCxn id="43" idx="1"/>
          </p:cNvCxnSpPr>
          <p:nvPr/>
        </p:nvCxnSpPr>
        <p:spPr>
          <a:xfrm flipV="1">
            <a:off x="6702720" y="2801325"/>
            <a:ext cx="1843567" cy="1723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D6589773-E23D-712C-9712-85D14592FA59}"/>
              </a:ext>
            </a:extLst>
          </p:cNvPr>
          <p:cNvCxnSpPr>
            <a:cxnSpLocks/>
            <a:stCxn id="6" idx="6"/>
            <a:endCxn id="45" idx="1"/>
          </p:cNvCxnSpPr>
          <p:nvPr/>
        </p:nvCxnSpPr>
        <p:spPr>
          <a:xfrm flipV="1">
            <a:off x="6702720" y="4210822"/>
            <a:ext cx="1843567" cy="3135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73B49DA8-89E1-2FD5-D192-4769DBA0CC4C}"/>
              </a:ext>
            </a:extLst>
          </p:cNvPr>
          <p:cNvCxnSpPr>
            <a:cxnSpLocks/>
            <a:stCxn id="6" idx="6"/>
            <a:endCxn id="46" idx="1"/>
          </p:cNvCxnSpPr>
          <p:nvPr/>
        </p:nvCxnSpPr>
        <p:spPr>
          <a:xfrm>
            <a:off x="6702720" y="4524400"/>
            <a:ext cx="1843567" cy="13741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F9EF050E-8A9D-36DE-ADF5-5C41FC54510C}"/>
              </a:ext>
            </a:extLst>
          </p:cNvPr>
          <p:cNvCxnSpPr>
            <a:stCxn id="7" idx="6"/>
            <a:endCxn id="43" idx="1"/>
          </p:cNvCxnSpPr>
          <p:nvPr/>
        </p:nvCxnSpPr>
        <p:spPr>
          <a:xfrm flipV="1">
            <a:off x="6702720" y="2801325"/>
            <a:ext cx="1843567" cy="22519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Arrow Connector 146">
            <a:extLst>
              <a:ext uri="{FF2B5EF4-FFF2-40B4-BE49-F238E27FC236}">
                <a16:creationId xmlns:a16="http://schemas.microsoft.com/office/drawing/2014/main" id="{20F67645-4408-0C8B-DE9B-D9F00F2C8CC2}"/>
              </a:ext>
            </a:extLst>
          </p:cNvPr>
          <p:cNvCxnSpPr>
            <a:cxnSpLocks/>
            <a:stCxn id="7" idx="6"/>
            <a:endCxn id="45" idx="1"/>
          </p:cNvCxnSpPr>
          <p:nvPr/>
        </p:nvCxnSpPr>
        <p:spPr>
          <a:xfrm flipV="1">
            <a:off x="6702720" y="4210822"/>
            <a:ext cx="1843567" cy="8424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Arrow Connector 148">
            <a:extLst>
              <a:ext uri="{FF2B5EF4-FFF2-40B4-BE49-F238E27FC236}">
                <a16:creationId xmlns:a16="http://schemas.microsoft.com/office/drawing/2014/main" id="{9D4BD7FA-FD80-991C-1AAB-0B31808D9A99}"/>
              </a:ext>
            </a:extLst>
          </p:cNvPr>
          <p:cNvCxnSpPr>
            <a:stCxn id="7" idx="6"/>
            <a:endCxn id="46" idx="1"/>
          </p:cNvCxnSpPr>
          <p:nvPr/>
        </p:nvCxnSpPr>
        <p:spPr>
          <a:xfrm>
            <a:off x="6702720" y="5053226"/>
            <a:ext cx="1843567" cy="8453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Arrow Connector 150">
            <a:extLst>
              <a:ext uri="{FF2B5EF4-FFF2-40B4-BE49-F238E27FC236}">
                <a16:creationId xmlns:a16="http://schemas.microsoft.com/office/drawing/2014/main" id="{983100DC-2FFA-44DD-F052-8531F1F6B0C3}"/>
              </a:ext>
            </a:extLst>
          </p:cNvPr>
          <p:cNvCxnSpPr>
            <a:stCxn id="9" idx="6"/>
            <a:endCxn id="43" idx="1"/>
          </p:cNvCxnSpPr>
          <p:nvPr/>
        </p:nvCxnSpPr>
        <p:spPr>
          <a:xfrm flipV="1">
            <a:off x="6702720" y="2801325"/>
            <a:ext cx="1843567" cy="27807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FAF8E703-F326-2479-937A-86F12B077175}"/>
              </a:ext>
            </a:extLst>
          </p:cNvPr>
          <p:cNvCxnSpPr>
            <a:cxnSpLocks/>
            <a:stCxn id="9" idx="6"/>
            <a:endCxn id="45" idx="1"/>
          </p:cNvCxnSpPr>
          <p:nvPr/>
        </p:nvCxnSpPr>
        <p:spPr>
          <a:xfrm flipV="1">
            <a:off x="6702720" y="4210822"/>
            <a:ext cx="1843567" cy="13712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Arrow Connector 154">
            <a:extLst>
              <a:ext uri="{FF2B5EF4-FFF2-40B4-BE49-F238E27FC236}">
                <a16:creationId xmlns:a16="http://schemas.microsoft.com/office/drawing/2014/main" id="{5F4A7145-0387-7F60-CF40-A9A175CDBCC8}"/>
              </a:ext>
            </a:extLst>
          </p:cNvPr>
          <p:cNvCxnSpPr>
            <a:stCxn id="9" idx="6"/>
            <a:endCxn id="46" idx="1"/>
          </p:cNvCxnSpPr>
          <p:nvPr/>
        </p:nvCxnSpPr>
        <p:spPr>
          <a:xfrm>
            <a:off x="6702720" y="5582052"/>
            <a:ext cx="1843567" cy="3164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6" name="Grupo 12">
            <a:extLst>
              <a:ext uri="{FF2B5EF4-FFF2-40B4-BE49-F238E27FC236}">
                <a16:creationId xmlns:a16="http://schemas.microsoft.com/office/drawing/2014/main" id="{C8154E91-BA25-C842-0404-5DC5ABCB710C}"/>
              </a:ext>
            </a:extLst>
          </p:cNvPr>
          <p:cNvGrpSpPr/>
          <p:nvPr/>
        </p:nvGrpSpPr>
        <p:grpSpPr>
          <a:xfrm>
            <a:off x="285695" y="2293947"/>
            <a:ext cx="3724015" cy="3986844"/>
            <a:chOff x="117381" y="1429091"/>
            <a:chExt cx="3724015" cy="6225990"/>
          </a:xfrm>
        </p:grpSpPr>
        <p:sp>
          <p:nvSpPr>
            <p:cNvPr id="157" name="Rectángulo redondeado 10">
              <a:extLst>
                <a:ext uri="{FF2B5EF4-FFF2-40B4-BE49-F238E27FC236}">
                  <a16:creationId xmlns:a16="http://schemas.microsoft.com/office/drawing/2014/main" id="{A965A287-F0F0-21F8-BC06-FD8397CA0552}"/>
                </a:ext>
              </a:extLst>
            </p:cNvPr>
            <p:cNvSpPr/>
            <p:nvPr/>
          </p:nvSpPr>
          <p:spPr>
            <a:xfrm>
              <a:off x="117381" y="1429091"/>
              <a:ext cx="3724015" cy="6225990"/>
            </a:xfrm>
            <a:prstGeom prst="round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GB" dirty="0"/>
            </a:p>
          </p:txBody>
        </p:sp>
        <p:sp>
          <p:nvSpPr>
            <p:cNvPr id="160" name="CuadroTexto 1">
              <a:extLst>
                <a:ext uri="{FF2B5EF4-FFF2-40B4-BE49-F238E27FC236}">
                  <a16:creationId xmlns:a16="http://schemas.microsoft.com/office/drawing/2014/main" id="{FCDEA0DE-3A46-2899-7CFF-0CF80447E6A3}"/>
                </a:ext>
              </a:extLst>
            </p:cNvPr>
            <p:cNvSpPr txBox="1"/>
            <p:nvPr/>
          </p:nvSpPr>
          <p:spPr>
            <a:xfrm>
              <a:off x="522932" y="1797996"/>
              <a:ext cx="3003964" cy="58187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342900" indent="-342900">
                <a:lnSpc>
                  <a:spcPct val="114000"/>
                </a:lnSpc>
                <a:buFont typeface="+mj-lt"/>
                <a:buAutoNum type="arabicPeriod"/>
              </a:pPr>
              <a:r>
                <a:rPr lang="en-US" sz="1600" dirty="0"/>
                <a:t>Own and contacted observer satellites orbital parameters</a:t>
              </a:r>
            </a:p>
            <a:p>
              <a:pPr marL="342900" indent="-342900">
                <a:lnSpc>
                  <a:spcPct val="114000"/>
                </a:lnSpc>
                <a:buFont typeface="+mj-lt"/>
                <a:buAutoNum type="arabicPeriod"/>
              </a:pPr>
              <a:r>
                <a:rPr lang="en-GB" sz="1600" dirty="0"/>
                <a:t>Own communication band identifier (1-5)</a:t>
              </a:r>
            </a:p>
            <a:p>
              <a:pPr marL="342900" indent="-342900">
                <a:lnSpc>
                  <a:spcPct val="114000"/>
                </a:lnSpc>
                <a:buFont typeface="+mj-lt"/>
                <a:buAutoNum type="arabicPeriod"/>
              </a:pPr>
              <a:r>
                <a:rPr lang="en-GB" sz="1600" dirty="0"/>
                <a:t>Own availability status</a:t>
              </a:r>
            </a:p>
            <a:p>
              <a:pPr marL="342900" indent="-342900">
                <a:lnSpc>
                  <a:spcPct val="114000"/>
                </a:lnSpc>
                <a:buFont typeface="+mj-lt"/>
                <a:buAutoNum type="arabicPeriod"/>
              </a:pPr>
              <a:r>
                <a:rPr lang="en-US" sz="1600" dirty="0"/>
                <a:t>Tracked target satellites' position and velocity</a:t>
              </a:r>
            </a:p>
            <a:p>
              <a:pPr marL="342900" indent="-342900">
                <a:lnSpc>
                  <a:spcPct val="114000"/>
                </a:lnSpc>
                <a:buFont typeface="+mj-lt"/>
                <a:buAutoNum type="arabicPeriod"/>
              </a:pPr>
              <a:r>
                <a:rPr lang="en-GB" sz="1600" dirty="0"/>
                <a:t>Battery level of observers</a:t>
              </a:r>
            </a:p>
            <a:p>
              <a:pPr marL="342900" indent="-342900">
                <a:lnSpc>
                  <a:spcPct val="114000"/>
                </a:lnSpc>
                <a:buFont typeface="+mj-lt"/>
                <a:buAutoNum type="arabicPeriod"/>
              </a:pPr>
              <a:r>
                <a:rPr lang="en-GB" sz="1600" dirty="0"/>
                <a:t>Storage level of observers</a:t>
              </a:r>
            </a:p>
            <a:p>
              <a:pPr marL="342900" indent="-342900">
                <a:lnSpc>
                  <a:spcPct val="114000"/>
                </a:lnSpc>
                <a:buFont typeface="+mj-lt"/>
                <a:buAutoNum type="arabicPeriod"/>
              </a:pPr>
              <a:r>
                <a:rPr lang="en-US" sz="1600" dirty="0"/>
                <a:t>Observation status of target satellites</a:t>
              </a:r>
            </a:p>
            <a:p>
              <a:pPr marL="342900" indent="-342900">
                <a:lnSpc>
                  <a:spcPct val="114000"/>
                </a:lnSpc>
                <a:buFont typeface="+mj-lt"/>
                <a:buAutoNum type="arabicPeriod"/>
              </a:pPr>
              <a:r>
                <a:rPr lang="en-GB" sz="1600" dirty="0"/>
                <a:t>Communication status between observers</a:t>
              </a:r>
            </a:p>
          </p:txBody>
        </p:sp>
      </p:grpSp>
      <p:sp>
        <p:nvSpPr>
          <p:cNvPr id="163" name="TextBox 162">
            <a:extLst>
              <a:ext uri="{FF2B5EF4-FFF2-40B4-BE49-F238E27FC236}">
                <a16:creationId xmlns:a16="http://schemas.microsoft.com/office/drawing/2014/main" id="{5D3EB636-130A-E758-6A42-6A9342CD4ED5}"/>
              </a:ext>
            </a:extLst>
          </p:cNvPr>
          <p:cNvSpPr txBox="1"/>
          <p:nvPr/>
        </p:nvSpPr>
        <p:spPr>
          <a:xfrm>
            <a:off x="510711" y="6280791"/>
            <a:ext cx="3408218" cy="381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/>
              <a:t>Dynamic, Partial Observations</a:t>
            </a:r>
            <a:endParaRPr lang="en-DE" dirty="0" err="1"/>
          </a:p>
        </p:txBody>
      </p: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0723BD55-6F45-37B6-9791-19EF90C5D26F}"/>
              </a:ext>
            </a:extLst>
          </p:cNvPr>
          <p:cNvCxnSpPr>
            <a:cxnSpLocks/>
            <a:endCxn id="16" idx="2"/>
          </p:cNvCxnSpPr>
          <p:nvPr/>
        </p:nvCxnSpPr>
        <p:spPr>
          <a:xfrm flipV="1">
            <a:off x="4009710" y="2937922"/>
            <a:ext cx="698437" cy="13494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Arrow Connector 166">
            <a:extLst>
              <a:ext uri="{FF2B5EF4-FFF2-40B4-BE49-F238E27FC236}">
                <a16:creationId xmlns:a16="http://schemas.microsoft.com/office/drawing/2014/main" id="{A92C9689-DBD5-649B-B194-86C81F51095B}"/>
              </a:ext>
            </a:extLst>
          </p:cNvPr>
          <p:cNvCxnSpPr>
            <a:cxnSpLocks/>
            <a:endCxn id="17" idx="2"/>
          </p:cNvCxnSpPr>
          <p:nvPr/>
        </p:nvCxnSpPr>
        <p:spPr>
          <a:xfrm flipV="1">
            <a:off x="4009710" y="3466748"/>
            <a:ext cx="698437" cy="8206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Arrow Connector 168">
            <a:extLst>
              <a:ext uri="{FF2B5EF4-FFF2-40B4-BE49-F238E27FC236}">
                <a16:creationId xmlns:a16="http://schemas.microsoft.com/office/drawing/2014/main" id="{6EE106E2-D5E2-7034-EBAC-EEDC26ECC1EB}"/>
              </a:ext>
            </a:extLst>
          </p:cNvPr>
          <p:cNvCxnSpPr>
            <a:cxnSpLocks/>
            <a:endCxn id="18" idx="2"/>
          </p:cNvCxnSpPr>
          <p:nvPr/>
        </p:nvCxnSpPr>
        <p:spPr>
          <a:xfrm flipV="1">
            <a:off x="4009710" y="3995574"/>
            <a:ext cx="698437" cy="2917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Arrow Connector 170">
            <a:extLst>
              <a:ext uri="{FF2B5EF4-FFF2-40B4-BE49-F238E27FC236}">
                <a16:creationId xmlns:a16="http://schemas.microsoft.com/office/drawing/2014/main" id="{DB3B27E1-C778-7441-5A64-8C170F4F15F5}"/>
              </a:ext>
            </a:extLst>
          </p:cNvPr>
          <p:cNvCxnSpPr>
            <a:cxnSpLocks/>
            <a:endCxn id="19" idx="2"/>
          </p:cNvCxnSpPr>
          <p:nvPr/>
        </p:nvCxnSpPr>
        <p:spPr>
          <a:xfrm>
            <a:off x="4009710" y="4287369"/>
            <a:ext cx="698437" cy="2370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Arrow Connector 179">
            <a:extLst>
              <a:ext uri="{FF2B5EF4-FFF2-40B4-BE49-F238E27FC236}">
                <a16:creationId xmlns:a16="http://schemas.microsoft.com/office/drawing/2014/main" id="{66BE97A6-6E16-AB00-719D-D0766E9B61D4}"/>
              </a:ext>
            </a:extLst>
          </p:cNvPr>
          <p:cNvCxnSpPr>
            <a:cxnSpLocks/>
            <a:endCxn id="20" idx="2"/>
          </p:cNvCxnSpPr>
          <p:nvPr/>
        </p:nvCxnSpPr>
        <p:spPr>
          <a:xfrm>
            <a:off x="4009710" y="4287369"/>
            <a:ext cx="698437" cy="7658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Arrow Connector 181">
            <a:extLst>
              <a:ext uri="{FF2B5EF4-FFF2-40B4-BE49-F238E27FC236}">
                <a16:creationId xmlns:a16="http://schemas.microsoft.com/office/drawing/2014/main" id="{3CFE4548-4EB1-21B3-4A7F-3548280CABC7}"/>
              </a:ext>
            </a:extLst>
          </p:cNvPr>
          <p:cNvCxnSpPr>
            <a:cxnSpLocks/>
            <a:endCxn id="21" idx="2"/>
          </p:cNvCxnSpPr>
          <p:nvPr/>
        </p:nvCxnSpPr>
        <p:spPr>
          <a:xfrm>
            <a:off x="4009710" y="4287369"/>
            <a:ext cx="698437" cy="12946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32434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E33C5F-1661-AE27-72F7-895681373C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75B5685-82C1-4A0A-DE27-B6E21CFB48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604" y="994338"/>
            <a:ext cx="11572799" cy="820738"/>
          </a:xfrm>
        </p:spPr>
        <p:txBody>
          <a:bodyPr/>
          <a:lstStyle/>
          <a:p>
            <a:r>
              <a:rPr lang="de-DE" sz="2800" dirty="0" err="1"/>
              <a:t>Shaped</a:t>
            </a:r>
            <a:r>
              <a:rPr lang="de-DE" sz="2800" dirty="0"/>
              <a:t> </a:t>
            </a:r>
            <a:r>
              <a:rPr lang="de-DE" sz="2800" dirty="0" err="1"/>
              <a:t>Reward</a:t>
            </a:r>
            <a:r>
              <a:rPr lang="de-DE" sz="2800" dirty="0"/>
              <a:t> </a:t>
            </a:r>
            <a:r>
              <a:rPr lang="de-DE" sz="2800" dirty="0" err="1"/>
              <a:t>Functions</a:t>
            </a:r>
            <a:r>
              <a:rPr lang="de-DE" sz="2800" dirty="0"/>
              <a:t>: </a:t>
            </a:r>
            <a:br>
              <a:rPr lang="de-DE" sz="2800" dirty="0"/>
            </a:br>
            <a:r>
              <a:rPr lang="de-DE" sz="2800" dirty="0"/>
              <a:t>Individual/Collective Evaluation – Positive/Negative Reinforcemen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504740-D986-34A7-AF24-13833168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de-DE" dirty="0">
              <a:cs typeface="Arial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8FAE364-8C75-6E8C-E8F6-6C8D4ED252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64709" y="4944928"/>
            <a:ext cx="5754422" cy="1535072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3770E71-95A8-1943-8F18-E78CA3332C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64709" y="3908172"/>
            <a:ext cx="4896533" cy="60968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CCCB770C-A5E4-D511-0D4D-C02F2D2D7B73}"/>
              </a:ext>
            </a:extLst>
          </p:cNvPr>
          <p:cNvSpPr/>
          <p:nvPr/>
        </p:nvSpPr>
        <p:spPr>
          <a:xfrm>
            <a:off x="8055290" y="2634553"/>
            <a:ext cx="2262992" cy="679972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94C262C-3893-BC16-B5EB-CDFBFDE16C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2749132"/>
            <a:ext cx="12192000" cy="73197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9E14EC5-B66B-A947-D06E-0A7837FBD0D9}"/>
              </a:ext>
            </a:extLst>
          </p:cNvPr>
          <p:cNvSpPr txBox="1"/>
          <p:nvPr/>
        </p:nvSpPr>
        <p:spPr>
          <a:xfrm>
            <a:off x="8004422" y="4201992"/>
            <a:ext cx="2650987" cy="147245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/>
              <a:t>Observation status </a:t>
            </a:r>
            <a:r>
              <a:rPr lang="en-US" sz="1600" i="1" dirty="0"/>
              <a:t>(M</a:t>
            </a:r>
            <a:r>
              <a:rPr lang="en-US" sz="1600" dirty="0"/>
              <a:t>)</a:t>
            </a:r>
            <a:r>
              <a:rPr lang="en-US" sz="1600" i="1" dirty="0"/>
              <a:t>: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0 - undetected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1 - detected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2 - being observed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3 - fully observed</a:t>
            </a:r>
          </a:p>
        </p:txBody>
      </p:sp>
    </p:spTree>
    <p:extLst>
      <p:ext uri="{BB962C8B-B14F-4D97-AF65-F5344CB8AC3E}">
        <p14:creationId xmlns:p14="http://schemas.microsoft.com/office/powerpoint/2010/main" val="935441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CB224F-4B79-E5D7-6F74-2DDCE00F96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00B07F98-7EF8-9DFF-701F-61ABBBE3E1D5}"/>
              </a:ext>
            </a:extLst>
          </p:cNvPr>
          <p:cNvSpPr/>
          <p:nvPr/>
        </p:nvSpPr>
        <p:spPr>
          <a:xfrm>
            <a:off x="309601" y="4288312"/>
            <a:ext cx="7171854" cy="2230252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8530209-1C53-19B3-F39A-FEBDCE6317B6}"/>
              </a:ext>
            </a:extLst>
          </p:cNvPr>
          <p:cNvSpPr/>
          <p:nvPr/>
        </p:nvSpPr>
        <p:spPr>
          <a:xfrm>
            <a:off x="309597" y="1813178"/>
            <a:ext cx="7171854" cy="2230252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61B6BC-3071-AC2E-D43E-4EED6E44009B}"/>
              </a:ext>
            </a:extLst>
          </p:cNvPr>
          <p:cNvSpPr/>
          <p:nvPr/>
        </p:nvSpPr>
        <p:spPr>
          <a:xfrm>
            <a:off x="4707763" y="2237381"/>
            <a:ext cx="1906367" cy="679972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2990965-31EA-FBC7-26D5-8D2564B9C3F4}"/>
              </a:ext>
            </a:extLst>
          </p:cNvPr>
          <p:cNvSpPr/>
          <p:nvPr/>
        </p:nvSpPr>
        <p:spPr>
          <a:xfrm>
            <a:off x="4707763" y="3315941"/>
            <a:ext cx="1814957" cy="679972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CD75186-8BF8-7F84-E860-93FECA613996}"/>
              </a:ext>
            </a:extLst>
          </p:cNvPr>
          <p:cNvSpPr/>
          <p:nvPr/>
        </p:nvSpPr>
        <p:spPr>
          <a:xfrm>
            <a:off x="4967968" y="4622829"/>
            <a:ext cx="2369645" cy="679972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E2A097D-B9AD-1924-4CAC-B59F8C1A8FFD}"/>
              </a:ext>
            </a:extLst>
          </p:cNvPr>
          <p:cNvSpPr/>
          <p:nvPr/>
        </p:nvSpPr>
        <p:spPr>
          <a:xfrm>
            <a:off x="4815865" y="5701389"/>
            <a:ext cx="2225015" cy="679972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937B4E6-9665-B95F-7402-8A786E703A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de-DE" dirty="0"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ECB4EEA-9A58-B206-0E61-788A05E418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1283" y="1087755"/>
            <a:ext cx="10729114" cy="64414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7406C70-E129-F1F7-EA54-ED97647AAF43}"/>
              </a:ext>
            </a:extLst>
          </p:cNvPr>
          <p:cNvSpPr txBox="1"/>
          <p:nvPr/>
        </p:nvSpPr>
        <p:spPr>
          <a:xfrm>
            <a:off x="8601190" y="1968925"/>
            <a:ext cx="2650987" cy="147245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/>
              <a:t>Observation status </a:t>
            </a:r>
            <a:r>
              <a:rPr lang="en-US" sz="1600" i="1" dirty="0"/>
              <a:t>(M</a:t>
            </a:r>
            <a:r>
              <a:rPr lang="en-US" sz="1600" dirty="0"/>
              <a:t>)</a:t>
            </a:r>
            <a:r>
              <a:rPr lang="en-US" sz="1600" i="1" dirty="0"/>
              <a:t>: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0 - undetected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1 - detected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2 - being observed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3 - fully observed</a:t>
            </a:r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F04D8EDB-3412-DCF4-2EA8-D26C954C28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9601" y="1902864"/>
            <a:ext cx="11572794" cy="4698828"/>
          </a:xfrm>
        </p:spPr>
        <p:txBody>
          <a:bodyPr/>
          <a:lstStyle/>
          <a:p>
            <a:pPr lvl="1" indent="0">
              <a:buNone/>
            </a:pPr>
            <a:r>
              <a:rPr lang="en-US" sz="1600" b="1" dirty="0"/>
              <a:t>Individual Positive Reinforcement</a:t>
            </a:r>
          </a:p>
          <a:p>
            <a:pPr marL="519105" lvl="1" indent="-342900"/>
            <a:endParaRPr lang="en-US" sz="1600" b="1" dirty="0"/>
          </a:p>
          <a:p>
            <a:pPr lvl="1" indent="0">
              <a:buNone/>
            </a:pPr>
            <a:endParaRPr lang="en-US" sz="1600" b="1" dirty="0"/>
          </a:p>
          <a:p>
            <a:pPr lvl="1" indent="0">
              <a:buNone/>
            </a:pPr>
            <a:endParaRPr lang="en-US" sz="1600" b="1" dirty="0">
              <a:latin typeface="Cambria Math" panose="02040503050406030204" pitchFamily="18" charset="0"/>
            </a:endParaRPr>
          </a:p>
          <a:p>
            <a:pPr lvl="1" indent="0">
              <a:buNone/>
            </a:pPr>
            <a:r>
              <a:rPr lang="en-US" sz="1600" b="1" dirty="0"/>
              <a:t>Individual Negative Reinforcement</a:t>
            </a:r>
          </a:p>
          <a:p>
            <a:pPr lvl="1" indent="0">
              <a:buNone/>
            </a:pPr>
            <a:endParaRPr lang="en-US" sz="1600" b="1" dirty="0"/>
          </a:p>
          <a:p>
            <a:pPr lvl="1" indent="0">
              <a:buNone/>
            </a:pPr>
            <a:endParaRPr lang="en-US" sz="1600" b="1" dirty="0"/>
          </a:p>
          <a:p>
            <a:pPr lvl="1" indent="0">
              <a:buNone/>
            </a:pPr>
            <a:endParaRPr lang="en-US" sz="1600" b="1" dirty="0"/>
          </a:p>
          <a:p>
            <a:pPr lvl="1" indent="0">
              <a:buNone/>
            </a:pPr>
            <a:endParaRPr lang="en-US" sz="1600" b="1" dirty="0"/>
          </a:p>
          <a:p>
            <a:pPr lvl="1" indent="0">
              <a:buNone/>
            </a:pPr>
            <a:r>
              <a:rPr lang="en-US" sz="1600" b="1" dirty="0"/>
              <a:t>Collective Positive Reinforcement</a:t>
            </a:r>
          </a:p>
          <a:p>
            <a:pPr lvl="1" indent="0">
              <a:buNone/>
            </a:pPr>
            <a:endParaRPr lang="en-US" sz="1600" b="1" dirty="0"/>
          </a:p>
          <a:p>
            <a:pPr lvl="1" indent="0">
              <a:buNone/>
            </a:pPr>
            <a:endParaRPr lang="en-US" sz="1600" b="1" dirty="0"/>
          </a:p>
          <a:p>
            <a:pPr lvl="1" indent="0">
              <a:buNone/>
            </a:pPr>
            <a:endParaRPr lang="en-US" sz="1600" b="1" dirty="0">
              <a:latin typeface="Cambria Math" panose="02040503050406030204" pitchFamily="18" charset="0"/>
            </a:endParaRPr>
          </a:p>
          <a:p>
            <a:pPr lvl="1" indent="0">
              <a:buNone/>
            </a:pPr>
            <a:r>
              <a:rPr lang="en-US" sz="1600" b="1" dirty="0"/>
              <a:t>Collective Negative Reinforcement</a:t>
            </a:r>
          </a:p>
          <a:p>
            <a:pPr lvl="1" indent="0">
              <a:buNone/>
            </a:pPr>
            <a:endParaRPr lang="en-US" sz="1600" b="1" dirty="0"/>
          </a:p>
          <a:p>
            <a:endParaRPr lang="en-DE" sz="1600" b="1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795FBB-2BA6-43F2-5ED5-38F59D055750}"/>
              </a:ext>
            </a:extLst>
          </p:cNvPr>
          <p:cNvSpPr txBox="1"/>
          <p:nvPr/>
        </p:nvSpPr>
        <p:spPr>
          <a:xfrm>
            <a:off x="7827520" y="3949284"/>
            <a:ext cx="3564968" cy="20117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2000" dirty="0">
                <a:latin typeface="+mn-lt"/>
              </a:rPr>
              <a:t>Sensitivity analysis for </a:t>
            </a:r>
            <a:r>
              <a:rPr lang="el-GR" sz="2000" dirty="0">
                <a:latin typeface="+mn-lt"/>
              </a:rPr>
              <a:t>α</a:t>
            </a:r>
            <a:r>
              <a:rPr lang="en-US" sz="2000" dirty="0">
                <a:latin typeface="+mn-lt"/>
              </a:rPr>
              <a:t>:</a:t>
            </a:r>
          </a:p>
          <a:p>
            <a:pPr marL="800100" lvl="1" indent="-34290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0 </a:t>
            </a:r>
          </a:p>
          <a:p>
            <a:pPr marL="800100" lvl="1" indent="-34290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0.1</a:t>
            </a:r>
          </a:p>
          <a:p>
            <a:pPr marL="800100" lvl="1" indent="-34290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0.5</a:t>
            </a:r>
          </a:p>
          <a:p>
            <a:pPr marL="800100" lvl="1" indent="-34290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1.0</a:t>
            </a:r>
          </a:p>
          <a:p>
            <a:pPr marL="800100" lvl="1" indent="-34290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2.0</a:t>
            </a:r>
          </a:p>
          <a:p>
            <a:pPr marL="800100" lvl="1" indent="-34290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5.0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2595CDF-DD4B-AD04-03FA-4143DAA9BFB4}"/>
              </a:ext>
            </a:extLst>
          </p:cNvPr>
          <p:cNvSpPr txBox="1"/>
          <p:nvPr/>
        </p:nvSpPr>
        <p:spPr>
          <a:xfrm>
            <a:off x="9231408" y="4777071"/>
            <a:ext cx="265098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l-GR" sz="1800" b="1" dirty="0"/>
              <a:t>α</a:t>
            </a:r>
            <a:r>
              <a:rPr lang="en-US" sz="1800" b="1" dirty="0"/>
              <a:t> is the weight of the mission goal term</a:t>
            </a:r>
            <a:endParaRPr lang="en-DE" b="1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C5DC79-70A0-F311-E625-DF6363A6A8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10074" y="2270972"/>
            <a:ext cx="7534833" cy="73305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7DE04CE-F0F8-BFEE-3DEB-56CBF84AD6B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10074" y="3379780"/>
            <a:ext cx="7534834" cy="73305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6438700-B8CA-C73C-FD6A-3A9D71E9500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91" y="4813896"/>
            <a:ext cx="8026044" cy="47789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426E48F-13C1-50B8-F2B0-04B7BAF83D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56666" y="5911119"/>
            <a:ext cx="8026042" cy="47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7591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9E05A5-20C6-88D6-BF0A-3B12ADDBB7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2C0DD70-3EEC-06AA-8388-D364D7A7E3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469" y="1628756"/>
            <a:ext cx="6520820" cy="4851244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25F4AA25-103D-D7BF-B435-92904B2EEF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603" y="994338"/>
            <a:ext cx="9928905" cy="410369"/>
          </a:xfrm>
        </p:spPr>
        <p:txBody>
          <a:bodyPr/>
          <a:lstStyle/>
          <a:p>
            <a:r>
              <a:rPr lang="de-DE" sz="2800" dirty="0"/>
              <a:t>Training </a:t>
            </a:r>
            <a:r>
              <a:rPr lang="de-DE" sz="2800" dirty="0" err="1"/>
              <a:t>Results</a:t>
            </a:r>
            <a:r>
              <a:rPr lang="de-DE" sz="2800" dirty="0"/>
              <a:t>: 4 </a:t>
            </a:r>
            <a:r>
              <a:rPr lang="de-DE" sz="2800" dirty="0" err="1"/>
              <a:t>Reward</a:t>
            </a:r>
            <a:r>
              <a:rPr lang="de-DE" sz="2800" dirty="0"/>
              <a:t> </a:t>
            </a:r>
            <a:r>
              <a:rPr lang="de-DE" sz="2800" dirty="0" err="1"/>
              <a:t>Functions</a:t>
            </a:r>
            <a:r>
              <a:rPr lang="de-DE" sz="2800" dirty="0"/>
              <a:t>, 6 </a:t>
            </a:r>
            <a:r>
              <a:rPr lang="el-GR" sz="2800" dirty="0"/>
              <a:t>α</a:t>
            </a:r>
            <a:r>
              <a:rPr lang="en-US" sz="2800" dirty="0"/>
              <a:t> values, </a:t>
            </a:r>
            <a:r>
              <a:rPr lang="de-DE" sz="2800" dirty="0"/>
              <a:t>5 </a:t>
            </a:r>
            <a:r>
              <a:rPr lang="de-DE" sz="2800" dirty="0" err="1"/>
              <a:t>seeds</a:t>
            </a:r>
            <a:endParaRPr lang="de-DE" sz="28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6C43F3D-FAFE-02BF-5DD6-12D166AAC4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E58CB1E-F828-4F11-99E0-327109AF9DA4}" type="slidenum">
              <a:rPr lang="de-DE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de-DE" dirty="0">
              <a:cs typeface="Arial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19E717-1410-05FF-A51E-2F8F7012EBC9}"/>
              </a:ext>
            </a:extLst>
          </p:cNvPr>
          <p:cNvSpPr txBox="1"/>
          <p:nvPr/>
        </p:nvSpPr>
        <p:spPr>
          <a:xfrm>
            <a:off x="7485608" y="3120179"/>
            <a:ext cx="4290243" cy="18683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24 combinations of </a:t>
            </a:r>
            <a:r>
              <a:rPr lang="el-GR" dirty="0"/>
              <a:t>α</a:t>
            </a:r>
            <a:r>
              <a:rPr lang="en-US" dirty="0"/>
              <a:t> and Reward Functions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All trained in a fully decentralized environment</a:t>
            </a:r>
          </a:p>
        </p:txBody>
      </p:sp>
    </p:spTree>
    <p:extLst>
      <p:ext uri="{BB962C8B-B14F-4D97-AF65-F5344CB8AC3E}">
        <p14:creationId xmlns:p14="http://schemas.microsoft.com/office/powerpoint/2010/main" val="7028380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Py4jXYfjkchnzZS8vO4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Py4jXYfjkchnzZS8vO4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Py4jXYfjkchnzZS8vO4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GJCjh6u7l5Nh_8m.N8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44ImkIWQTWrb9OMMOiJ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Py4jXYfjkchnzZS8vO4A"/>
</p:tagLst>
</file>

<file path=ppt/theme/theme1.xml><?xml version="1.0" encoding="utf-8"?>
<a:theme xmlns:a="http://schemas.openxmlformats.org/drawingml/2006/main" name="TUM_ASG_ohne Logo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CBD49A23-D4A5-4DC9-B4E4-5EFCDA770A02}" vid="{C496AA54-BFBB-451B-B434-9ECB4E840AF8}"/>
    </a:ext>
  </a:extLst>
</a:theme>
</file>

<file path=ppt/theme/theme2.xml><?xml version="1.0" encoding="utf-8"?>
<a:theme xmlns:a="http://schemas.openxmlformats.org/drawingml/2006/main" name="TUM_ASG_weiß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CBD49A23-D4A5-4DC9-B4E4-5EFCDA770A02}" vid="{AE42037D-CE22-45BA-86F1-491126676C7C}"/>
    </a:ext>
  </a:extLst>
</a:theme>
</file>

<file path=ppt/theme/theme3.xml><?xml version="1.0" encoding="utf-8"?>
<a:theme xmlns:a="http://schemas.openxmlformats.org/drawingml/2006/main" name="TUM_ASG_Mission_Erde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CBD49A23-D4A5-4DC9-B4E4-5EFCDA770A02}" vid="{C496AA54-BFBB-451B-B434-9ECB4E840AF8}"/>
    </a:ext>
  </a:extLst>
</a:theme>
</file>

<file path=ppt/theme/theme4.xml><?xml version="1.0" encoding="utf-8"?>
<a:theme xmlns:a="http://schemas.openxmlformats.org/drawingml/2006/main" name="TUM_ASG_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CBD49A23-D4A5-4DC9-B4E4-5EFCDA770A02}" vid="{C496AA54-BFBB-451B-B434-9ECB4E840AF8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1337B7C703F0D4B9D85BF505281B4CC" ma:contentTypeVersion="14" ma:contentTypeDescription="Ein neues Dokument erstellen." ma:contentTypeScope="" ma:versionID="0e7d354534c9f03e30b2d83919cc832a">
  <xsd:schema xmlns:xsd="http://www.w3.org/2001/XMLSchema" xmlns:xs="http://www.w3.org/2001/XMLSchema" xmlns:p="http://schemas.microsoft.com/office/2006/metadata/properties" xmlns:ns3="ed42aee6-0b9a-43f1-a944-97c830054e9b" xmlns:ns4="367be2aa-8091-453c-a679-169201434d42" targetNamespace="http://schemas.microsoft.com/office/2006/metadata/properties" ma:root="true" ma:fieldsID="cd576642c1161cffbfea3299cfd50569" ns3:_="" ns4:_="">
    <xsd:import namespace="ed42aee6-0b9a-43f1-a944-97c830054e9b"/>
    <xsd:import namespace="367be2aa-8091-453c-a679-169201434d4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SearchProperties" minOccurs="0"/>
                <xsd:element ref="ns3:MediaServiceDateTaken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42aee6-0b9a-43f1-a944-97c830054e9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1" nillable="true" ma:displayName="_activity" ma:hidden="true" ma:internalName="_activity">
      <xsd:simpleType>
        <xsd:restriction base="dms:Note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17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1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7be2aa-8091-453c-a679-169201434d4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ed42aee6-0b9a-43f1-a944-97c830054e9b" xsi:nil="true"/>
  </documentManagement>
</p:properties>
</file>

<file path=customXml/itemProps1.xml><?xml version="1.0" encoding="utf-8"?>
<ds:datastoreItem xmlns:ds="http://schemas.openxmlformats.org/officeDocument/2006/customXml" ds:itemID="{DEE13F12-6C55-469F-96C3-1262C547F5F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D7518E6-F4AB-4671-9F6E-B4ADB65DDDA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d42aee6-0b9a-43f1-a944-97c830054e9b"/>
    <ds:schemaRef ds:uri="367be2aa-8091-453c-a679-169201434d4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8B88C5C-ECEB-40EE-8B12-37C34F505BAF}">
  <ds:schemaRefs>
    <ds:schemaRef ds:uri="ed42aee6-0b9a-43f1-a944-97c830054e9b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367be2aa-8091-453c-a679-169201434d42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47</Words>
  <Application>Microsoft Office PowerPoint</Application>
  <PresentationFormat>Widescreen</PresentationFormat>
  <Paragraphs>203</Paragraphs>
  <Slides>16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Arial</vt:lpstr>
      <vt:lpstr>Calibri</vt:lpstr>
      <vt:lpstr>Cambria Math</vt:lpstr>
      <vt:lpstr>Symbol</vt:lpstr>
      <vt:lpstr>TUM_ASG_ohne Logo</vt:lpstr>
      <vt:lpstr>TUM_ASG_weiß</vt:lpstr>
      <vt:lpstr>TUM_ASG_Mission_Erde</vt:lpstr>
      <vt:lpstr>TUM_ASG_blau</vt:lpstr>
      <vt:lpstr>think-cell Folie</vt:lpstr>
      <vt:lpstr>Autonomous Decision-Making for Large Satellite Constellations:  a Multi-Agent Reinforcement Learning Approach to  Space Situational Awareness  in Partially Observable Dynamic Environments</vt:lpstr>
      <vt:lpstr>Increasingly crowded orbits</vt:lpstr>
      <vt:lpstr>Can Deep Reinforcement Learning (DRL) help reduce workloads and enhance  Space Situational Awareness (SSA)?</vt:lpstr>
      <vt:lpstr>Mission Goal: Detect and Monitor All Target Objects</vt:lpstr>
      <vt:lpstr>Target Monitoring</vt:lpstr>
      <vt:lpstr>Implementing a Neural Network for Agent’s Decision-Making</vt:lpstr>
      <vt:lpstr>Shaped Reward Functions:  Individual/Collective Evaluation – Positive/Negative Reinforcement</vt:lpstr>
      <vt:lpstr>PowerPoint Presentation</vt:lpstr>
      <vt:lpstr>Training Results: 4 Reward Functions, 6 α values, 5 seeds</vt:lpstr>
      <vt:lpstr>Deployed in 3 Different Coordination Topologies  against 2 Centralized Exact Methods with Perfect Information</vt:lpstr>
      <vt:lpstr>Mission Accomplishment Results</vt:lpstr>
      <vt:lpstr>Remaining Resources After Simulation</vt:lpstr>
      <vt:lpstr>Operating Modes  during the Mission</vt:lpstr>
      <vt:lpstr>3 Key Takeaways  Multi-Agent RL policies in constellation management…</vt:lpstr>
      <vt:lpstr>Thank you for your attention!</vt:lpstr>
      <vt:lpstr>How do we integrate this as a Reinforcement Learning Problem?  Decentralized Partially Observable Markov Decision Process</vt:lpstr>
    </vt:vector>
  </TitlesOfParts>
  <Company>Leibniz-Rechenzentru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avelj, Nikola</dc:creator>
  <cp:lastModifiedBy>Clemente Javier Juan Oliver</cp:lastModifiedBy>
  <cp:revision>4</cp:revision>
  <cp:lastPrinted>2021-01-21T08:58:55Z</cp:lastPrinted>
  <dcterms:created xsi:type="dcterms:W3CDTF">2019-08-27T07:21:37Z</dcterms:created>
  <dcterms:modified xsi:type="dcterms:W3CDTF">2025-11-14T15:41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1337B7C703F0D4B9D85BF505281B4CC</vt:lpwstr>
  </property>
  <property fmtid="{D5CDD505-2E9C-101B-9397-08002B2CF9AE}" pid="3" name="MediaServiceImageTags">
    <vt:lpwstr/>
  </property>
</Properties>
</file>